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3" r:id="rId2"/>
    <p:sldMasterId id="2147483666" r:id="rId3"/>
    <p:sldMasterId id="2147483673" r:id="rId4"/>
  </p:sldMasterIdLst>
  <p:notesMasterIdLst>
    <p:notesMasterId r:id="rId11"/>
  </p:notesMasterIdLst>
  <p:sldIdLst>
    <p:sldId id="6206" r:id="rId5"/>
    <p:sldId id="316" r:id="rId6"/>
    <p:sldId id="6209" r:id="rId7"/>
    <p:sldId id="6208" r:id="rId8"/>
    <p:sldId id="692" r:id="rId9"/>
    <p:sldId id="652" r:id="rId10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7" d="100"/>
          <a:sy n="67" d="100"/>
        </p:scale>
        <p:origin x="644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CDEEB1-F83D-45D7-9ED8-1AC5A32FB6E2}" type="datetimeFigureOut">
              <a:rPr lang="en-US" smtClean="0"/>
              <a:t>11/18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12BA92-625A-4260-9CE8-C3F709E177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75752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799493-6412-4470-9830-D005B358D66E}" type="slidenum">
              <a:rPr kumimoji="0" lang="en-GB" sz="16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589248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799493-6412-4470-9830-D005B358D66E}" type="slidenum">
              <a:rPr kumimoji="0" lang="en-GB" sz="16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812001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6570826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/>
        </p:nvSpPr>
        <p:spPr bwMode="auto">
          <a:xfrm>
            <a:off x="8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7" name="Rectangle 16" descr="&lt;Shell Yellow Bar&gt;" title="&lt;Shell Yellow Bar&gt;"/>
          <p:cNvSpPr/>
          <p:nvPr userDrawn="1"/>
        </p:nvSpPr>
        <p:spPr bwMode="auto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18" name="Picture 17" descr="PECTEN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1778011" y="3765268"/>
            <a:ext cx="6694609" cy="2154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</a:t>
            </a:r>
            <a:r>
              <a:rPr lang="en-US" sz="1400" kern="1200" baseline="0" noProof="0" dirty="0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Date</a:t>
            </a:r>
            <a:endParaRPr lang="en-US" sz="1400" baseline="0" noProof="0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1778011" y="1161746"/>
            <a:ext cx="6694609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1778011" y="2602007"/>
            <a:ext cx="6694609" cy="215444"/>
          </a:xfrm>
        </p:spPr>
        <p:txBody>
          <a:bodyPr>
            <a:spAutoFit/>
          </a:bodyPr>
          <a:lstStyle>
            <a:lvl1pPr algn="l">
              <a:defRPr sz="1400" cap="all" baseline="0">
                <a:solidFill>
                  <a:schemeClr val="accent6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9" name="doc id"/>
          <p:cNvSpPr>
            <a:spLocks noChangeArrowheads="1"/>
          </p:cNvSpPr>
          <p:nvPr userDrawn="1"/>
        </p:nvSpPr>
        <p:spPr bwMode="auto">
          <a:xfrm>
            <a:off x="11061355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7465032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3">
            <a:extLst>
              <a:ext uri="{FF2B5EF4-FFF2-40B4-BE49-F238E27FC236}">
                <a16:creationId xmlns:a16="http://schemas.microsoft.com/office/drawing/2014/main" id="{EAC0B2C4-E8AF-4CC1-BDBD-71990FE056BF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2192000" cy="6858000"/>
            <a:chOff x="0" y="0"/>
            <a:chExt cx="9144000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D9C22F15-3293-4B75-A98F-348E19A00C2B}"/>
                </a:ext>
              </a:extLst>
            </p:cNvPr>
            <p:cNvSpPr/>
            <p:nvPr userDrawn="1"/>
          </p:nvSpPr>
          <p:spPr>
            <a:xfrm>
              <a:off x="0" y="0"/>
              <a:ext cx="9144000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GB" sz="1800"/>
            </a:p>
          </p:txBody>
        </p:sp>
        <p:pic>
          <p:nvPicPr>
            <p:cNvPr id="4" name="Picture 5">
              <a:extLst>
                <a:ext uri="{FF2B5EF4-FFF2-40B4-BE49-F238E27FC236}">
                  <a16:creationId xmlns:a16="http://schemas.microsoft.com/office/drawing/2014/main" id="{C95F4D41-6700-4934-828D-D45D6A272C7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18626" y="2285524"/>
              <a:ext cx="2340000" cy="2170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946617054"/>
      </p:ext>
    </p:extLst>
  </p:cSld>
  <p:clrMapOvr>
    <a:masterClrMapping/>
  </p:clrMapOvr>
  <p:transition/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/>
        </p:nvSpPr>
        <p:spPr bwMode="gray">
          <a:xfrm>
            <a:off x="0" y="4313786"/>
            <a:ext cx="12192000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0" y="951614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0" y="3310197"/>
            <a:ext cx="9899747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0" y="4588235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0" y="4840064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24" name="Text Box 11" descr="&lt;COMPANY_NAME&gt;&#10;"/>
          <p:cNvSpPr txBox="1">
            <a:spLocks noChangeArrowheads="1"/>
          </p:cNvSpPr>
          <p:nvPr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2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9" name="Rectangle 18" descr="&lt;Shell Yellow Bar&gt;" title="&lt;Shell Yellow Bar&gt;"/>
          <p:cNvSpPr/>
          <p:nvPr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20" name="Picture 19" descr="PECTEN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8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Futura Medium" panose="00000400000000000000" pitchFamily="2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8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3300888157"/>
      </p:ext>
    </p:extLst>
  </p:cSld>
  <p:clrMapOvr>
    <a:masterClrMapping/>
  </p:clrMapOvr>
  <p:transition/>
  <p:hf sldNum="0" hdr="0" ftr="0"/>
  <p:extLst>
    <p:ext uri="{DCECCB84-F9BA-43D5-87BE-67443E8EF086}">
      <p15:sldGuideLst xmlns:p15="http://schemas.microsoft.com/office/powerpoint/2012/main">
        <p15:guide id="1" pos="198">
          <p15:clr>
            <a:srgbClr val="FBAE40"/>
          </p15:clr>
        </p15:guide>
        <p15:guide id="4" pos="7357">
          <p15:clr>
            <a:srgbClr val="FBAE40"/>
          </p15:clr>
        </p15:guide>
        <p15:guide id="5" pos="1121">
          <p15:clr>
            <a:srgbClr val="FBAE40"/>
          </p15:clr>
        </p15:guide>
        <p15:guide id="6" orient="horz" pos="4074">
          <p15:clr>
            <a:srgbClr val="FBAE40"/>
          </p15:clr>
        </p15:guide>
        <p15:guide id="7" orient="horz" pos="216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 bwMode="gray">
          <a:xfrm>
            <a:off x="0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0" y="950400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0" y="3310197"/>
            <a:ext cx="4831323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0" y="4588235"/>
            <a:ext cx="4870924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0" y="4840063"/>
            <a:ext cx="4870924" cy="489785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30" name="Text Box 11" descr="&lt;COMPANY_NAME&gt;"/>
          <p:cNvSpPr txBox="1">
            <a:spLocks noChangeArrowheads="1"/>
          </p:cNvSpPr>
          <p:nvPr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3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36" name="Rectangle 35" descr="&lt;Shell Yellow Bar&gt;" title="&lt;Shell Yellow Bar&gt;"/>
          <p:cNvSpPr/>
          <p:nvPr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37" name="Picture 36" descr="PECTEN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848418" y="2795384"/>
            <a:ext cx="4830819" cy="3049484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2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Futura Medium" panose="00000400000000000000" pitchFamily="2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1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3087219696"/>
      </p:ext>
    </p:extLst>
  </p:cSld>
  <p:clrMapOvr>
    <a:masterClrMapping/>
  </p:clrMapOvr>
  <p:transition/>
  <p:hf sldNum="0" hdr="0" ft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6" name="Text Box 11" descr="&lt;COMPANY_NAME&gt;"/>
          <p:cNvSpPr txBox="1">
            <a:spLocks noChangeArrowheads="1"/>
          </p:cNvSpPr>
          <p:nvPr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696"/>
            <a:ext cx="5179738" cy="834301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1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Futura Medium" panose="00000400000000000000" pitchFamily="2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2364232406"/>
      </p:ext>
    </p:extLst>
  </p:cSld>
  <p:clrMapOvr>
    <a:masterClrMapping/>
  </p:clrMapOvr>
  <p:transition/>
  <p:hf sldNum="0" hdr="0" ftr="0"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  <p15:guide id="3" orient="horz" pos="2562">
          <p15:clr>
            <a:srgbClr val="FBAE40"/>
          </p15:clr>
        </p15:guide>
        <p15:guide id="4" orient="horz" pos="299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0"/>
            <a:ext cx="12194723" cy="6857999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753155" y="3560901"/>
                </a:moveTo>
                <a:lnTo>
                  <a:pt x="763913" y="6359075"/>
                </a:lnTo>
                <a:lnTo>
                  <a:pt x="7622163" y="6355342"/>
                </a:lnTo>
                <a:cubicBezTo>
                  <a:pt x="7618577" y="5510947"/>
                  <a:pt x="7626189" y="4405296"/>
                  <a:pt x="7622603" y="3560901"/>
                </a:cubicBezTo>
                <a:lnTo>
                  <a:pt x="753155" y="3560901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2" name="Group 1"/>
          <p:cNvGrpSpPr/>
          <p:nvPr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106" name="Text Box 11" descr="&lt;COMPANY_NAME&gt;"/>
          <p:cNvSpPr txBox="1">
            <a:spLocks noChangeArrowheads="1"/>
          </p:cNvSpPr>
          <p:nvPr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200"/>
            <a:ext cx="5179738" cy="835200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1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Futura Medium" panose="00000400000000000000" pitchFamily="2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592034285"/>
      </p:ext>
    </p:extLst>
  </p:cSld>
  <p:clrMapOvr>
    <a:masterClrMapping/>
  </p:clrMapOvr>
  <p:transition/>
  <p:hf sldNum="0" hdr="0" ftr="0"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Futura Medium" panose="00000400000000000000" pitchFamily="2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1182012430"/>
      </p:ext>
    </p:extLst>
  </p:cSld>
  <p:clrMapOvr>
    <a:masterClrMapping/>
  </p:clrMapOvr>
  <p:transition/>
  <p:hf sldNum="0" hdr="0" ft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482698 w 12194723"/>
              <a:gd name="connsiteY5" fmla="*/ 48285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482698 w 12194723"/>
              <a:gd name="connsiteY9" fmla="*/ 48285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3833 w 12194723"/>
              <a:gd name="connsiteY8" fmla="*/ 5061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96313 w 12194723"/>
              <a:gd name="connsiteY8" fmla="*/ 486123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6332 w 12194723"/>
              <a:gd name="connsiteY8" fmla="*/ 381191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6445 w 12194723"/>
              <a:gd name="connsiteY8" fmla="*/ 558575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61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5396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4 w 12194723"/>
              <a:gd name="connsiteY8" fmla="*/ 5036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508891" y="511425"/>
                </a:moveTo>
                <a:cubicBezTo>
                  <a:pt x="509626" y="566329"/>
                  <a:pt x="510362" y="528366"/>
                  <a:pt x="511097" y="583270"/>
                </a:cubicBezTo>
                <a:lnTo>
                  <a:pt x="1774181" y="585272"/>
                </a:lnTo>
                <a:cubicBezTo>
                  <a:pt x="1771177" y="584735"/>
                  <a:pt x="1784691" y="508891"/>
                  <a:pt x="1769076" y="508490"/>
                </a:cubicBezTo>
                <a:cubicBezTo>
                  <a:pt x="1753461" y="508089"/>
                  <a:pt x="928953" y="510447"/>
                  <a:pt x="508891" y="511425"/>
                </a:cubicBezTo>
                <a:close/>
              </a:path>
            </a:pathLst>
          </a:cu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54689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Futura Medium" panose="00000400000000000000" pitchFamily="2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4148596617"/>
      </p:ext>
    </p:extLst>
  </p:cSld>
  <p:clrMapOvr>
    <a:masterClrMapping/>
  </p:clrMapOvr>
  <p:transition/>
  <p:hf sldNum="0" hdr="0" ft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76400" indent="-176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354200" indent="-1778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3pPr>
            <a:lvl4pPr marL="532000" indent="-1778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4pPr>
            <a:lvl5pPr marL="684400" indent="-152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tabLst/>
              <a:defRPr sz="12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Futura Medium" panose="00000400000000000000" pitchFamily="2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2533700387"/>
      </p:ext>
    </p:extLst>
  </p:cSld>
  <p:clrMapOvr>
    <a:masterClrMapping/>
  </p:clrMapOvr>
  <p:transition/>
  <p:hf sldNum="0" hdr="0" ft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16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590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876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90800" indent="-203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1043200" indent="-15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59000" indent="-2286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876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90800" indent="-203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1043200" indent="-15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Futura Medium" panose="00000400000000000000" pitchFamily="2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521457436"/>
      </p:ext>
    </p:extLst>
  </p:cSld>
  <p:clrMapOvr>
    <a:masterClrMapping/>
  </p:clrMapOvr>
  <p:transition/>
  <p:hf sldNum="0" hdr="0" ft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765">
          <p15:clr>
            <a:srgbClr val="FBAE40"/>
          </p15:clr>
        </p15:guide>
        <p15:guide id="3" pos="3915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3" y="1528764"/>
            <a:ext cx="5464175" cy="4830762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354200" indent="-177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3pPr>
            <a:lvl4pPr marL="532000" indent="-177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684400" indent="-152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24100" indent="-1397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tabLst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354200" indent="-1778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400"/>
            </a:lvl3pPr>
            <a:lvl4pPr marL="532000" indent="-1778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684400" indent="-152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24100" indent="-1397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Futura Medium" panose="00000400000000000000" pitchFamily="2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4280830278"/>
      </p:ext>
    </p:extLst>
  </p:cSld>
  <p:clrMapOvr>
    <a:masterClrMapping/>
  </p:clrMapOvr>
  <p:transition/>
  <p:hf sldNum="0" hdr="0" ft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60191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7350070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2" y="6201069"/>
            <a:ext cx="5543051" cy="158455"/>
          </a:xfrm>
        </p:spPr>
        <p:txBody>
          <a:bodyPr wrap="square">
            <a:noAutofit/>
          </a:bodyPr>
          <a:lstStyle>
            <a:lvl1pPr>
              <a:defRPr sz="850" cap="none" baseline="0">
                <a:solidFill>
                  <a:schemeClr val="tx1"/>
                </a:solidFill>
                <a:latin typeface="Futura Medium" panose="00000400000000000000" pitchFamily="2" charset="0"/>
              </a:defRPr>
            </a:lvl1pPr>
          </a:lstStyle>
          <a:p>
            <a:pPr lvl="0"/>
            <a:r>
              <a:rPr lang="en-GB" dirty="0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/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9" name="Content Placeholder 51"/>
          <p:cNvSpPr>
            <a:spLocks noGrp="1"/>
          </p:cNvSpPr>
          <p:nvPr>
            <p:ph sz="quarter" idx="45" hasCustomPrompt="1"/>
          </p:nvPr>
        </p:nvSpPr>
        <p:spPr>
          <a:xfrm>
            <a:off x="508000" y="4199574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8000" y="3864611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41" name="Straight Connector 40"/>
          <p:cNvCxnSpPr/>
          <p:nvPr/>
        </p:nvCxnSpPr>
        <p:spPr>
          <a:xfrm>
            <a:off x="508000" y="4141370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Chart Placeholder 16"/>
          <p:cNvSpPr>
            <a:spLocks noGrp="1"/>
          </p:cNvSpPr>
          <p:nvPr>
            <p:ph type="chart" sz="quarter" idx="47"/>
          </p:nvPr>
        </p:nvSpPr>
        <p:spPr>
          <a:xfrm>
            <a:off x="508000" y="4456229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 dirty="0"/>
          </a:p>
        </p:txBody>
      </p:sp>
      <p:cxnSp>
        <p:nvCxnSpPr>
          <p:cNvPr id="43" name="Straight Connector 42"/>
          <p:cNvCxnSpPr/>
          <p:nvPr/>
        </p:nvCxnSpPr>
        <p:spPr>
          <a:xfrm flipV="1">
            <a:off x="508000" y="5966640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ontent Placeholder 51"/>
          <p:cNvSpPr>
            <a:spLocks noGrp="1"/>
          </p:cNvSpPr>
          <p:nvPr>
            <p:ph sz="quarter" idx="54" hasCustomPrompt="1"/>
          </p:nvPr>
        </p:nvSpPr>
        <p:spPr>
          <a:xfrm>
            <a:off x="508000" y="1863726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8000" y="1528763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1" name="Straight Connector 100"/>
          <p:cNvCxnSpPr/>
          <p:nvPr/>
        </p:nvCxnSpPr>
        <p:spPr>
          <a:xfrm>
            <a:off x="508000" y="1805522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8000" y="2120382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 dirty="0"/>
          </a:p>
        </p:txBody>
      </p:sp>
      <p:cxnSp>
        <p:nvCxnSpPr>
          <p:cNvPr id="103" name="Straight Connector 102"/>
          <p:cNvCxnSpPr/>
          <p:nvPr/>
        </p:nvCxnSpPr>
        <p:spPr>
          <a:xfrm flipV="1">
            <a:off x="508000" y="3732357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ontent Placeholder 51"/>
          <p:cNvSpPr>
            <a:spLocks noGrp="1"/>
          </p:cNvSpPr>
          <p:nvPr>
            <p:ph sz="quarter" idx="57" hasCustomPrompt="1"/>
          </p:nvPr>
        </p:nvSpPr>
        <p:spPr>
          <a:xfrm>
            <a:off x="6215063" y="4199574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15063" y="3864611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6" name="Straight Connector 105"/>
          <p:cNvCxnSpPr/>
          <p:nvPr/>
        </p:nvCxnSpPr>
        <p:spPr>
          <a:xfrm>
            <a:off x="6215063" y="4141387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hart Placeholder 16"/>
          <p:cNvSpPr>
            <a:spLocks noGrp="1"/>
          </p:cNvSpPr>
          <p:nvPr>
            <p:ph type="chart" sz="quarter" idx="59"/>
          </p:nvPr>
        </p:nvSpPr>
        <p:spPr>
          <a:xfrm>
            <a:off x="6215063" y="4456229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 dirty="0"/>
          </a:p>
        </p:txBody>
      </p:sp>
      <p:cxnSp>
        <p:nvCxnSpPr>
          <p:cNvPr id="108" name="Straight Connector 107"/>
          <p:cNvCxnSpPr/>
          <p:nvPr/>
        </p:nvCxnSpPr>
        <p:spPr>
          <a:xfrm flipV="1">
            <a:off x="6215063" y="5966657"/>
            <a:ext cx="5464175" cy="1829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ontent Placeholder 51"/>
          <p:cNvSpPr>
            <a:spLocks noGrp="1"/>
          </p:cNvSpPr>
          <p:nvPr>
            <p:ph sz="quarter" idx="60" hasCustomPrompt="1"/>
          </p:nvPr>
        </p:nvSpPr>
        <p:spPr>
          <a:xfrm>
            <a:off x="6215063" y="1863726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15063" y="1528763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11" name="Straight Connector 110"/>
          <p:cNvCxnSpPr/>
          <p:nvPr/>
        </p:nvCxnSpPr>
        <p:spPr>
          <a:xfrm>
            <a:off x="6215063" y="1805539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15063" y="2120382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 dirty="0"/>
          </a:p>
        </p:txBody>
      </p:sp>
      <p:cxnSp>
        <p:nvCxnSpPr>
          <p:cNvPr id="113" name="Straight Connector 112"/>
          <p:cNvCxnSpPr/>
          <p:nvPr/>
        </p:nvCxnSpPr>
        <p:spPr>
          <a:xfrm>
            <a:off x="6089108" y="3730543"/>
            <a:ext cx="5265195" cy="2448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Futura Medium" panose="00000400000000000000" pitchFamily="2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1547661074"/>
      </p:ext>
    </p:extLst>
  </p:cSld>
  <p:clrMapOvr>
    <a:masterClrMapping/>
  </p:clrMapOvr>
  <p:transition/>
  <p:hf sldNum="0" hdr="0" ft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7" name="Rectangle 26" descr="&lt;Shell Yellow Bar&gt;" title="&lt;Shell Yellow Bar&gt;"/>
          <p:cNvSpPr/>
          <p:nvPr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6397451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9745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02833" y="1924112"/>
            <a:ext cx="4274842" cy="2930523"/>
          </a:xfrm>
          <a:prstGeom prst="rect">
            <a:avLst/>
          </a:prstGeom>
        </p:spPr>
        <p:txBody>
          <a:bodyPr lIns="0" tIns="0" rIns="0" bIns="0"/>
          <a:lstStyle>
            <a:lvl1pPr marL="0" algn="r" defTabSz="1219170" rtl="0" eaLnBrk="1" latinLnBrk="0" hangingPunct="1">
              <a:lnSpc>
                <a:spcPct val="100000"/>
              </a:lnSpc>
              <a:buClr>
                <a:srgbClr val="DD1D21"/>
              </a:buClr>
              <a:buSzPct val="85000"/>
              <a:buNone/>
              <a:tabLst>
                <a:tab pos="1081088" algn="l"/>
              </a:tabLst>
              <a:defRPr lang="en-GB" sz="20000" kern="10000" spc="-1000" baseline="0" dirty="0">
                <a:ln w="3175">
                  <a:noFill/>
                </a:ln>
                <a:solidFill>
                  <a:schemeClr val="accent1"/>
                </a:solidFill>
                <a:latin typeface="Futura Bold"/>
                <a:ea typeface="Arial" charset="0"/>
                <a:cs typeface="Futura Bold"/>
              </a:defRPr>
            </a:lvl1pPr>
          </a:lstStyle>
          <a:p>
            <a:pPr lvl="0"/>
            <a:r>
              <a:rPr lang="en-GB" dirty="0"/>
              <a:t>0.0</a:t>
            </a:r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Futura Medium" panose="00000400000000000000" pitchFamily="2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noProof="1"/>
              <a:t>Date Month 2016</a:t>
            </a:r>
          </a:p>
        </p:txBody>
      </p:sp>
      <p:sp>
        <p:nvSpPr>
          <p:cNvPr id="15" name="Text Box 11" descr="&lt;COMPANY_NAME&gt;"/>
          <p:cNvSpPr txBox="1">
            <a:spLocks noChangeArrowheads="1"/>
          </p:cNvSpPr>
          <p:nvPr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nl-NL" sz="850" noProof="1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nl-NL" noProof="1" smtClean="0"/>
              <a:pPr/>
              <a:t>‹#›</a:t>
            </a:fld>
            <a:endParaRPr lang="nl-NL" noProof="1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noProof="1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2171365251"/>
      </p:ext>
    </p:extLst>
  </p:cSld>
  <p:clrMapOvr>
    <a:masterClrMapping/>
  </p:clrMapOvr>
  <p:transition/>
  <p:hf sldNum="0" hdr="0" ftr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 bwMode="gray">
          <a:xfrm>
            <a:off x="761993" y="3556002"/>
            <a:ext cx="6858000" cy="2540001"/>
            <a:chOff x="761993" y="3556002"/>
            <a:chExt cx="6858000" cy="2540001"/>
          </a:xfrm>
        </p:grpSpPr>
        <p:sp>
          <p:nvSpPr>
            <p:cNvPr id="16" name="Rectangle 15"/>
            <p:cNvSpPr/>
            <p:nvPr userDrawn="1"/>
          </p:nvSpPr>
          <p:spPr bwMode="gray">
            <a:xfrm>
              <a:off x="761993" y="3556002"/>
              <a:ext cx="6858000" cy="2540001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8" name="Rectangle 27" descr="&lt;Shell Yellow Bar&gt;" title="&lt;Shell Yellow Bar&gt;"/>
            <p:cNvSpPr/>
            <p:nvPr userDrawn="1"/>
          </p:nvSpPr>
          <p:spPr bwMode="gray">
            <a:xfrm>
              <a:off x="1145875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/>
          <p:cNvSpPr/>
          <p:nvPr/>
        </p:nvSpPr>
        <p:spPr bwMode="white">
          <a:xfrm>
            <a:off x="501606" y="488935"/>
            <a:ext cx="1311092" cy="11880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 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5875" y="4028766"/>
            <a:ext cx="6177756" cy="865472"/>
          </a:xfrm>
          <a:noFill/>
        </p:spPr>
        <p:txBody>
          <a:bodyPr lIns="0" tIns="0" rIns="0"/>
          <a:lstStyle>
            <a:lvl1pPr>
              <a:defRPr sz="240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5875" y="5092242"/>
            <a:ext cx="6177756" cy="7706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Futura Medium" panose="00000400000000000000" pitchFamily="2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</p:spTree>
    <p:extLst>
      <p:ext uri="{BB962C8B-B14F-4D97-AF65-F5344CB8AC3E}">
        <p14:creationId xmlns:p14="http://schemas.microsoft.com/office/powerpoint/2010/main" val="696031958"/>
      </p:ext>
    </p:extLst>
  </p:cSld>
  <p:clrMapOvr>
    <a:masterClrMapping/>
  </p:clrMapOvr>
  <p:transition/>
  <p:hf sldNum="0" hdr="0" ft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 </a:t>
            </a:r>
          </a:p>
        </p:txBody>
      </p:sp>
      <p:sp>
        <p:nvSpPr>
          <p:cNvPr id="7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Futura Medium" panose="00000400000000000000" pitchFamily="2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</p:spTree>
    <p:extLst>
      <p:ext uri="{BB962C8B-B14F-4D97-AF65-F5344CB8AC3E}">
        <p14:creationId xmlns:p14="http://schemas.microsoft.com/office/powerpoint/2010/main" val="2801880790"/>
      </p:ext>
    </p:extLst>
  </p:cSld>
  <p:clrMapOvr>
    <a:masterClrMapping/>
  </p:clrMapOvr>
  <p:transition/>
  <p:hf sldNum="0" hdr="0" ft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0"/>
            <a:ext cx="12194382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Futura Medium" panose="00000400000000000000" pitchFamily="2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 </a:t>
            </a:r>
          </a:p>
        </p:txBody>
      </p:sp>
      <p:sp>
        <p:nvSpPr>
          <p:cNvPr id="3" name="Text Placeholder 2" descr="&lt;IGNORE&gt;" title="&lt;IGNORE&gt;"/>
          <p:cNvSpPr>
            <a:spLocks noGrp="1"/>
          </p:cNvSpPr>
          <p:nvPr>
            <p:ph type="body" sz="quarter" idx="13"/>
          </p:nvPr>
        </p:nvSpPr>
        <p:spPr>
          <a:xfrm>
            <a:off x="513179" y="1438480"/>
            <a:ext cx="11166561" cy="2861742"/>
          </a:xfrm>
        </p:spPr>
        <p:txBody>
          <a:bodyPr/>
          <a:lstStyle>
            <a:lvl1pPr>
              <a:lnSpc>
                <a:spcPct val="110000"/>
              </a:lnSpc>
              <a:defRPr lang="en-US" sz="3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555359"/>
      </p:ext>
    </p:extLst>
  </p:cSld>
  <p:clrMapOvr>
    <a:masterClrMapping/>
  </p:clrMapOvr>
  <p:transition/>
  <p:hf sldNum="0" hdr="0" ft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3" name="Rectangle 22" descr="&lt;Shell Yellow Bar&gt;" title="&lt;Shell Yellow Bar&gt;"/>
          <p:cNvSpPr/>
          <p:nvPr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5187472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7576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Futura Medium" panose="00000400000000000000" pitchFamily="2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27" name="Text Box 11" descr="&lt;COMPANY_NAME&gt;"/>
          <p:cNvSpPr txBox="1">
            <a:spLocks noChangeArrowheads="1"/>
          </p:cNvSpPr>
          <p:nvPr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 </a:t>
            </a:r>
          </a:p>
        </p:txBody>
      </p:sp>
      <p:grpSp>
        <p:nvGrpSpPr>
          <p:cNvPr id="31" name="Group 30"/>
          <p:cNvGrpSpPr/>
          <p:nvPr/>
        </p:nvGrpSpPr>
        <p:grpSpPr bwMode="gray">
          <a:xfrm>
            <a:off x="6450013" y="2557463"/>
            <a:ext cx="5197475" cy="1917700"/>
            <a:chOff x="6450013" y="2557463"/>
            <a:chExt cx="5197475" cy="1917700"/>
          </a:xfrm>
        </p:grpSpPr>
        <p:sp>
          <p:nvSpPr>
            <p:cNvPr id="32" name="Freeform 6"/>
            <p:cNvSpPr>
              <a:spLocks noEditPoints="1"/>
            </p:cNvSpPr>
            <p:nvPr userDrawn="1"/>
          </p:nvSpPr>
          <p:spPr bwMode="gray">
            <a:xfrm>
              <a:off x="6450013" y="2557463"/>
              <a:ext cx="2005013" cy="1917700"/>
            </a:xfrm>
            <a:custGeom>
              <a:avLst/>
              <a:gdLst>
                <a:gd name="T0" fmla="*/ 274 w 346"/>
                <a:gd name="T1" fmla="*/ 331 h 331"/>
                <a:gd name="T2" fmla="*/ 250 w 346"/>
                <a:gd name="T3" fmla="*/ 302 h 331"/>
                <a:gd name="T4" fmla="*/ 167 w 346"/>
                <a:gd name="T5" fmla="*/ 322 h 331"/>
                <a:gd name="T6" fmla="*/ 0 w 346"/>
                <a:gd name="T7" fmla="*/ 156 h 331"/>
                <a:gd name="T8" fmla="*/ 167 w 346"/>
                <a:gd name="T9" fmla="*/ 0 h 331"/>
                <a:gd name="T10" fmla="*/ 334 w 346"/>
                <a:gd name="T11" fmla="*/ 162 h 331"/>
                <a:gd name="T12" fmla="*/ 295 w 346"/>
                <a:gd name="T13" fmla="*/ 268 h 331"/>
                <a:gd name="T14" fmla="*/ 346 w 346"/>
                <a:gd name="T15" fmla="*/ 320 h 331"/>
                <a:gd name="T16" fmla="*/ 274 w 346"/>
                <a:gd name="T17" fmla="*/ 331 h 331"/>
                <a:gd name="T18" fmla="*/ 238 w 346"/>
                <a:gd name="T19" fmla="*/ 207 h 331"/>
                <a:gd name="T20" fmla="*/ 252 w 346"/>
                <a:gd name="T21" fmla="*/ 162 h 331"/>
                <a:gd name="T22" fmla="*/ 167 w 346"/>
                <a:gd name="T23" fmla="*/ 76 h 331"/>
                <a:gd name="T24" fmla="*/ 82 w 346"/>
                <a:gd name="T25" fmla="*/ 156 h 331"/>
                <a:gd name="T26" fmla="*/ 167 w 346"/>
                <a:gd name="T27" fmla="*/ 246 h 331"/>
                <a:gd name="T28" fmla="*/ 191 w 346"/>
                <a:gd name="T29" fmla="*/ 242 h 331"/>
                <a:gd name="T30" fmla="*/ 143 w 346"/>
                <a:gd name="T31" fmla="*/ 194 h 331"/>
                <a:gd name="T32" fmla="*/ 217 w 346"/>
                <a:gd name="T33" fmla="*/ 185 h 331"/>
                <a:gd name="T34" fmla="*/ 238 w 346"/>
                <a:gd name="T35" fmla="*/ 20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331">
                  <a:moveTo>
                    <a:pt x="274" y="331"/>
                  </a:moveTo>
                  <a:cubicBezTo>
                    <a:pt x="250" y="302"/>
                    <a:pt x="250" y="302"/>
                    <a:pt x="250" y="302"/>
                  </a:cubicBezTo>
                  <a:cubicBezTo>
                    <a:pt x="227" y="316"/>
                    <a:pt x="199" y="322"/>
                    <a:pt x="167" y="322"/>
                  </a:cubicBezTo>
                  <a:cubicBezTo>
                    <a:pt x="70" y="322"/>
                    <a:pt x="0" y="253"/>
                    <a:pt x="0" y="156"/>
                  </a:cubicBezTo>
                  <a:cubicBezTo>
                    <a:pt x="0" y="64"/>
                    <a:pt x="80" y="0"/>
                    <a:pt x="167" y="0"/>
                  </a:cubicBezTo>
                  <a:cubicBezTo>
                    <a:pt x="261" y="0"/>
                    <a:pt x="334" y="64"/>
                    <a:pt x="334" y="162"/>
                  </a:cubicBezTo>
                  <a:cubicBezTo>
                    <a:pt x="334" y="202"/>
                    <a:pt x="320" y="237"/>
                    <a:pt x="295" y="268"/>
                  </a:cubicBezTo>
                  <a:cubicBezTo>
                    <a:pt x="346" y="320"/>
                    <a:pt x="346" y="320"/>
                    <a:pt x="346" y="320"/>
                  </a:cubicBezTo>
                  <a:lnTo>
                    <a:pt x="274" y="331"/>
                  </a:lnTo>
                  <a:close/>
                  <a:moveTo>
                    <a:pt x="238" y="207"/>
                  </a:moveTo>
                  <a:cubicBezTo>
                    <a:pt x="247" y="194"/>
                    <a:pt x="252" y="178"/>
                    <a:pt x="252" y="162"/>
                  </a:cubicBezTo>
                  <a:cubicBezTo>
                    <a:pt x="252" y="117"/>
                    <a:pt x="215" y="76"/>
                    <a:pt x="167" y="76"/>
                  </a:cubicBezTo>
                  <a:cubicBezTo>
                    <a:pt x="121" y="76"/>
                    <a:pt x="82" y="114"/>
                    <a:pt x="82" y="156"/>
                  </a:cubicBezTo>
                  <a:cubicBezTo>
                    <a:pt x="82" y="208"/>
                    <a:pt x="121" y="246"/>
                    <a:pt x="167" y="246"/>
                  </a:cubicBezTo>
                  <a:cubicBezTo>
                    <a:pt x="175" y="246"/>
                    <a:pt x="183" y="245"/>
                    <a:pt x="191" y="242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217" y="185"/>
                    <a:pt x="217" y="185"/>
                    <a:pt x="217" y="185"/>
                  </a:cubicBezTo>
                  <a:lnTo>
                    <a:pt x="238" y="20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Freeform 7"/>
            <p:cNvSpPr>
              <a:spLocks noEditPoints="1"/>
            </p:cNvSpPr>
            <p:nvPr userDrawn="1"/>
          </p:nvSpPr>
          <p:spPr bwMode="gray">
            <a:xfrm>
              <a:off x="8426451" y="2586038"/>
              <a:ext cx="1441450" cy="1814513"/>
            </a:xfrm>
            <a:custGeom>
              <a:avLst/>
              <a:gdLst>
                <a:gd name="T0" fmla="*/ 190 w 249"/>
                <a:gd name="T1" fmla="*/ 257 h 313"/>
                <a:gd name="T2" fmla="*/ 79 w 249"/>
                <a:gd name="T3" fmla="*/ 313 h 313"/>
                <a:gd name="T4" fmla="*/ 0 w 249"/>
                <a:gd name="T5" fmla="*/ 233 h 313"/>
                <a:gd name="T6" fmla="*/ 92 w 249"/>
                <a:gd name="T7" fmla="*/ 124 h 313"/>
                <a:gd name="T8" fmla="*/ 60 w 249"/>
                <a:gd name="T9" fmla="*/ 58 h 313"/>
                <a:gd name="T10" fmla="*/ 119 w 249"/>
                <a:gd name="T11" fmla="*/ 0 h 313"/>
                <a:gd name="T12" fmla="*/ 174 w 249"/>
                <a:gd name="T13" fmla="*/ 56 h 313"/>
                <a:gd name="T14" fmla="*/ 117 w 249"/>
                <a:gd name="T15" fmla="*/ 130 h 313"/>
                <a:gd name="T16" fmla="*/ 192 w 249"/>
                <a:gd name="T17" fmla="*/ 232 h 313"/>
                <a:gd name="T18" fmla="*/ 230 w 249"/>
                <a:gd name="T19" fmla="*/ 190 h 313"/>
                <a:gd name="T20" fmla="*/ 245 w 249"/>
                <a:gd name="T21" fmla="*/ 198 h 313"/>
                <a:gd name="T22" fmla="*/ 203 w 249"/>
                <a:gd name="T23" fmla="*/ 246 h 313"/>
                <a:gd name="T24" fmla="*/ 249 w 249"/>
                <a:gd name="T25" fmla="*/ 307 h 313"/>
                <a:gd name="T26" fmla="*/ 228 w 249"/>
                <a:gd name="T27" fmla="*/ 307 h 313"/>
                <a:gd name="T28" fmla="*/ 190 w 249"/>
                <a:gd name="T29" fmla="*/ 257 h 313"/>
                <a:gd name="T30" fmla="*/ 84 w 249"/>
                <a:gd name="T31" fmla="*/ 152 h 313"/>
                <a:gd name="T32" fmla="*/ 19 w 249"/>
                <a:gd name="T33" fmla="*/ 231 h 313"/>
                <a:gd name="T34" fmla="*/ 79 w 249"/>
                <a:gd name="T35" fmla="*/ 295 h 313"/>
                <a:gd name="T36" fmla="*/ 179 w 249"/>
                <a:gd name="T37" fmla="*/ 242 h 313"/>
                <a:gd name="T38" fmla="*/ 103 w 249"/>
                <a:gd name="T39" fmla="*/ 139 h 313"/>
                <a:gd name="T40" fmla="*/ 84 w 249"/>
                <a:gd name="T41" fmla="*/ 152 h 313"/>
                <a:gd name="T42" fmla="*/ 79 w 249"/>
                <a:gd name="T43" fmla="*/ 60 h 313"/>
                <a:gd name="T44" fmla="*/ 106 w 249"/>
                <a:gd name="T45" fmla="*/ 115 h 313"/>
                <a:gd name="T46" fmla="*/ 154 w 249"/>
                <a:gd name="T47" fmla="*/ 55 h 313"/>
                <a:gd name="T48" fmla="*/ 118 w 249"/>
                <a:gd name="T49" fmla="*/ 18 h 313"/>
                <a:gd name="T50" fmla="*/ 79 w 249"/>
                <a:gd name="T51" fmla="*/ 6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9" h="313">
                  <a:moveTo>
                    <a:pt x="190" y="257"/>
                  </a:moveTo>
                  <a:cubicBezTo>
                    <a:pt x="156" y="285"/>
                    <a:pt x="118" y="313"/>
                    <a:pt x="79" y="313"/>
                  </a:cubicBezTo>
                  <a:cubicBezTo>
                    <a:pt x="34" y="313"/>
                    <a:pt x="0" y="277"/>
                    <a:pt x="0" y="233"/>
                  </a:cubicBezTo>
                  <a:cubicBezTo>
                    <a:pt x="0" y="181"/>
                    <a:pt x="50" y="150"/>
                    <a:pt x="92" y="124"/>
                  </a:cubicBezTo>
                  <a:cubicBezTo>
                    <a:pt x="78" y="104"/>
                    <a:pt x="60" y="84"/>
                    <a:pt x="60" y="58"/>
                  </a:cubicBezTo>
                  <a:cubicBezTo>
                    <a:pt x="60" y="26"/>
                    <a:pt x="87" y="0"/>
                    <a:pt x="119" y="0"/>
                  </a:cubicBezTo>
                  <a:cubicBezTo>
                    <a:pt x="150" y="0"/>
                    <a:pt x="174" y="25"/>
                    <a:pt x="174" y="56"/>
                  </a:cubicBezTo>
                  <a:cubicBezTo>
                    <a:pt x="174" y="90"/>
                    <a:pt x="146" y="110"/>
                    <a:pt x="117" y="130"/>
                  </a:cubicBezTo>
                  <a:cubicBezTo>
                    <a:pt x="192" y="232"/>
                    <a:pt x="192" y="232"/>
                    <a:pt x="192" y="232"/>
                  </a:cubicBezTo>
                  <a:cubicBezTo>
                    <a:pt x="230" y="190"/>
                    <a:pt x="230" y="190"/>
                    <a:pt x="230" y="190"/>
                  </a:cubicBezTo>
                  <a:cubicBezTo>
                    <a:pt x="245" y="198"/>
                    <a:pt x="245" y="198"/>
                    <a:pt x="245" y="198"/>
                  </a:cubicBezTo>
                  <a:cubicBezTo>
                    <a:pt x="203" y="246"/>
                    <a:pt x="203" y="246"/>
                    <a:pt x="203" y="246"/>
                  </a:cubicBezTo>
                  <a:cubicBezTo>
                    <a:pt x="249" y="307"/>
                    <a:pt x="249" y="307"/>
                    <a:pt x="249" y="307"/>
                  </a:cubicBezTo>
                  <a:cubicBezTo>
                    <a:pt x="228" y="307"/>
                    <a:pt x="228" y="307"/>
                    <a:pt x="228" y="307"/>
                  </a:cubicBezTo>
                  <a:lnTo>
                    <a:pt x="190" y="257"/>
                  </a:lnTo>
                  <a:close/>
                  <a:moveTo>
                    <a:pt x="84" y="152"/>
                  </a:moveTo>
                  <a:cubicBezTo>
                    <a:pt x="55" y="170"/>
                    <a:pt x="19" y="193"/>
                    <a:pt x="19" y="231"/>
                  </a:cubicBezTo>
                  <a:cubicBezTo>
                    <a:pt x="19" y="265"/>
                    <a:pt x="44" y="295"/>
                    <a:pt x="79" y="295"/>
                  </a:cubicBezTo>
                  <a:cubicBezTo>
                    <a:pt x="114" y="295"/>
                    <a:pt x="151" y="265"/>
                    <a:pt x="179" y="242"/>
                  </a:cubicBezTo>
                  <a:cubicBezTo>
                    <a:pt x="103" y="139"/>
                    <a:pt x="103" y="139"/>
                    <a:pt x="103" y="139"/>
                  </a:cubicBezTo>
                  <a:lnTo>
                    <a:pt x="84" y="152"/>
                  </a:lnTo>
                  <a:close/>
                  <a:moveTo>
                    <a:pt x="79" y="60"/>
                  </a:moveTo>
                  <a:cubicBezTo>
                    <a:pt x="79" y="81"/>
                    <a:pt x="95" y="97"/>
                    <a:pt x="106" y="115"/>
                  </a:cubicBezTo>
                  <a:cubicBezTo>
                    <a:pt x="127" y="99"/>
                    <a:pt x="154" y="86"/>
                    <a:pt x="154" y="55"/>
                  </a:cubicBezTo>
                  <a:cubicBezTo>
                    <a:pt x="154" y="35"/>
                    <a:pt x="138" y="18"/>
                    <a:pt x="118" y="18"/>
                  </a:cubicBezTo>
                  <a:cubicBezTo>
                    <a:pt x="96" y="18"/>
                    <a:pt x="79" y="39"/>
                    <a:pt x="79" y="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5" name="Freeform 8"/>
            <p:cNvSpPr>
              <a:spLocks noEditPoints="1"/>
            </p:cNvSpPr>
            <p:nvPr userDrawn="1"/>
          </p:nvSpPr>
          <p:spPr bwMode="gray">
            <a:xfrm>
              <a:off x="9821863" y="2614613"/>
              <a:ext cx="1825625" cy="1751013"/>
            </a:xfrm>
            <a:custGeom>
              <a:avLst/>
              <a:gdLst>
                <a:gd name="T0" fmla="*/ 380 w 1150"/>
                <a:gd name="T1" fmla="*/ 913 h 1103"/>
                <a:gd name="T2" fmla="*/ 303 w 1150"/>
                <a:gd name="T3" fmla="*/ 1103 h 1103"/>
                <a:gd name="T4" fmla="*/ 0 w 1150"/>
                <a:gd name="T5" fmla="*/ 1103 h 1103"/>
                <a:gd name="T6" fmla="*/ 424 w 1150"/>
                <a:gd name="T7" fmla="*/ 0 h 1103"/>
                <a:gd name="T8" fmla="*/ 734 w 1150"/>
                <a:gd name="T9" fmla="*/ 0 h 1103"/>
                <a:gd name="T10" fmla="*/ 1150 w 1150"/>
                <a:gd name="T11" fmla="*/ 1103 h 1103"/>
                <a:gd name="T12" fmla="*/ 843 w 1150"/>
                <a:gd name="T13" fmla="*/ 1103 h 1103"/>
                <a:gd name="T14" fmla="*/ 774 w 1150"/>
                <a:gd name="T15" fmla="*/ 913 h 1103"/>
                <a:gd name="T16" fmla="*/ 380 w 1150"/>
                <a:gd name="T17" fmla="*/ 913 h 1103"/>
                <a:gd name="T18" fmla="*/ 581 w 1150"/>
                <a:gd name="T19" fmla="*/ 344 h 1103"/>
                <a:gd name="T20" fmla="*/ 577 w 1150"/>
                <a:gd name="T21" fmla="*/ 344 h 1103"/>
                <a:gd name="T22" fmla="*/ 456 w 1150"/>
                <a:gd name="T23" fmla="*/ 694 h 1103"/>
                <a:gd name="T24" fmla="*/ 697 w 1150"/>
                <a:gd name="T25" fmla="*/ 694 h 1103"/>
                <a:gd name="T26" fmla="*/ 581 w 1150"/>
                <a:gd name="T27" fmla="*/ 344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0" h="1103">
                  <a:moveTo>
                    <a:pt x="380" y="913"/>
                  </a:moveTo>
                  <a:lnTo>
                    <a:pt x="303" y="1103"/>
                  </a:lnTo>
                  <a:lnTo>
                    <a:pt x="0" y="1103"/>
                  </a:lnTo>
                  <a:lnTo>
                    <a:pt x="424" y="0"/>
                  </a:lnTo>
                  <a:lnTo>
                    <a:pt x="734" y="0"/>
                  </a:lnTo>
                  <a:lnTo>
                    <a:pt x="1150" y="1103"/>
                  </a:lnTo>
                  <a:lnTo>
                    <a:pt x="843" y="1103"/>
                  </a:lnTo>
                  <a:lnTo>
                    <a:pt x="774" y="913"/>
                  </a:lnTo>
                  <a:lnTo>
                    <a:pt x="380" y="913"/>
                  </a:lnTo>
                  <a:close/>
                  <a:moveTo>
                    <a:pt x="581" y="344"/>
                  </a:moveTo>
                  <a:lnTo>
                    <a:pt x="577" y="344"/>
                  </a:lnTo>
                  <a:lnTo>
                    <a:pt x="456" y="694"/>
                  </a:lnTo>
                  <a:lnTo>
                    <a:pt x="697" y="694"/>
                  </a:lnTo>
                  <a:lnTo>
                    <a:pt x="581" y="3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3370012435"/>
      </p:ext>
    </p:extLst>
  </p:cSld>
  <p:clrMapOvr>
    <a:masterClrMapping/>
  </p:clrMapOvr>
  <p:transition/>
  <p:hf sldNum="0" hdr="0" ft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 </a:t>
            </a:r>
          </a:p>
        </p:txBody>
      </p:sp>
      <p:sp>
        <p:nvSpPr>
          <p:cNvPr id="1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Futura Medium" panose="00000400000000000000" pitchFamily="2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2" name="Text Box 11" descr="&lt;COMPANY_NAME&gt;&#10;"/>
          <p:cNvSpPr txBox="1">
            <a:spLocks noChangeArrowheads="1"/>
          </p:cNvSpPr>
          <p:nvPr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rPr>
              <a:t>Company name appears here</a:t>
            </a:r>
          </a:p>
        </p:txBody>
      </p:sp>
    </p:spTree>
    <p:extLst>
      <p:ext uri="{BB962C8B-B14F-4D97-AF65-F5344CB8AC3E}">
        <p14:creationId xmlns:p14="http://schemas.microsoft.com/office/powerpoint/2010/main" val="4059197600"/>
      </p:ext>
    </p:extLst>
  </p:cSld>
  <p:clrMapOvr>
    <a:masterClrMapping/>
  </p:clrMapOvr>
  <p:transition/>
  <p:hf sldNum="0" hdr="0" ftr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0208" y="1257010"/>
            <a:ext cx="4316400" cy="431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9644334"/>
      </p:ext>
    </p:extLst>
  </p:cSld>
  <p:clrMapOvr>
    <a:masterClrMapping/>
  </p:clrMapOvr>
  <p:transition/>
  <p:hf sldNum="0" hdr="0" ft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7799391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/>
        </p:nvSpPr>
        <p:spPr bwMode="auto">
          <a:xfrm>
            <a:off x="8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7" name="Rectangle 16" descr="&lt;Shell Yellow Bar&gt;" title="&lt;Shell Yellow Bar&gt;"/>
          <p:cNvSpPr/>
          <p:nvPr userDrawn="1"/>
        </p:nvSpPr>
        <p:spPr bwMode="auto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18" name="Picture 17" descr="PECTEN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1778011" y="3765268"/>
            <a:ext cx="6694609" cy="2154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</a:t>
            </a:r>
            <a:r>
              <a:rPr lang="en-US" sz="1400" kern="1200" baseline="0" noProof="0" dirty="0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Date</a:t>
            </a:r>
            <a:endParaRPr lang="en-US" sz="1400" baseline="0" noProof="0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1778011" y="1161746"/>
            <a:ext cx="6694609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1778011" y="2602007"/>
            <a:ext cx="6694609" cy="215444"/>
          </a:xfrm>
        </p:spPr>
        <p:txBody>
          <a:bodyPr>
            <a:spAutoFit/>
          </a:bodyPr>
          <a:lstStyle>
            <a:lvl1pPr algn="l">
              <a:defRPr sz="1400" cap="all" baseline="0">
                <a:solidFill>
                  <a:schemeClr val="accent6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9" name="doc id"/>
          <p:cNvSpPr>
            <a:spLocks noChangeArrowheads="1"/>
          </p:cNvSpPr>
          <p:nvPr userDrawn="1"/>
        </p:nvSpPr>
        <p:spPr bwMode="auto">
          <a:xfrm>
            <a:off x="11061355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209000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47782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386249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13">
            <a:extLst>
              <a:ext uri="{FF2B5EF4-FFF2-40B4-BE49-F238E27FC236}">
                <a16:creationId xmlns:a16="http://schemas.microsoft.com/office/drawing/2014/main" id="{05BA7E58-E013-449B-B961-A6944BCEE0DC}"/>
              </a:ext>
            </a:extLst>
          </p:cNvPr>
          <p:cNvGrpSpPr>
            <a:grpSpLocks/>
          </p:cNvGrpSpPr>
          <p:nvPr/>
        </p:nvGrpSpPr>
        <p:grpSpPr bwMode="auto">
          <a:xfrm>
            <a:off x="624417" y="225425"/>
            <a:ext cx="10945283" cy="6167438"/>
            <a:chOff x="468313" y="226142"/>
            <a:chExt cx="8208961" cy="6167226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1F75658-E155-4B49-8234-031AC8E29785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468313" y="1307193"/>
              <a:ext cx="7019924" cy="508617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defRPr/>
              </a:pPr>
              <a:r>
                <a:rPr lang="en-GB" sz="1800">
                  <a:latin typeface="Futura Medium"/>
                  <a:cs typeface="Arial" charset="0"/>
                </a:rPr>
                <a:t> </a:t>
              </a:r>
              <a:endParaRPr lang="en-GB" sz="1800" dirty="0">
                <a:latin typeface="Futura Medium"/>
                <a:cs typeface="Arial" charset="0"/>
              </a:endParaRPr>
            </a:p>
          </p:txBody>
        </p:sp>
        <p:sp>
          <p:nvSpPr>
            <p:cNvPr id="8" name="Rectangle 4">
              <a:extLst>
                <a:ext uri="{FF2B5EF4-FFF2-40B4-BE49-F238E27FC236}">
                  <a16:creationId xmlns:a16="http://schemas.microsoft.com/office/drawing/2014/main" id="{B4C7ABA8-4DAE-483A-BFDF-FEC0F552E431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1547813" y="226142"/>
              <a:ext cx="7129461" cy="504014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defRPr/>
              </a:pPr>
              <a:endParaRPr lang="en-GB" sz="1800">
                <a:latin typeface="Futura Medium"/>
                <a:cs typeface="Arial" charset="0"/>
              </a:endParaRPr>
            </a:p>
          </p:txBody>
        </p:sp>
        <p:sp>
          <p:nvSpPr>
            <p:cNvPr id="9" name="Rectangle 4">
              <a:extLst>
                <a:ext uri="{FF2B5EF4-FFF2-40B4-BE49-F238E27FC236}">
                  <a16:creationId xmlns:a16="http://schemas.microsoft.com/office/drawing/2014/main" id="{E98F4C68-1481-4E2A-A0E1-C84AE94872BE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1547813" y="1307193"/>
              <a:ext cx="5942011" cy="395908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Futura Medium" pitchFamily="2" charset="0"/>
              </a:endParaRPr>
            </a:p>
          </p:txBody>
        </p:sp>
        <p:pic>
          <p:nvPicPr>
            <p:cNvPr id="10" name="Picture 7">
              <a:extLst>
                <a:ext uri="{FF2B5EF4-FFF2-40B4-BE49-F238E27FC236}">
                  <a16:creationId xmlns:a16="http://schemas.microsoft.com/office/drawing/2014/main" id="{9A50FD43-B412-4D68-A4A8-D58513010CF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468313" y="290934"/>
              <a:ext cx="720000" cy="6678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1" name="Text Box 11" descr="Text Box 11">
            <a:extLst>
              <a:ext uri="{FF2B5EF4-FFF2-40B4-BE49-F238E27FC236}">
                <a16:creationId xmlns:a16="http://schemas.microsoft.com/office/drawing/2014/main" id="{83754E19-31DF-4685-B1D2-B706BABC002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4418" y="6553200"/>
            <a:ext cx="3359149" cy="2349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GB" altLang="en-US" sz="800">
                <a:latin typeface="Futura Medium" pitchFamily="2" charset="0"/>
              </a:rPr>
              <a:t>Copyright of SPDC</a:t>
            </a:r>
          </a:p>
        </p:txBody>
      </p:sp>
      <p:sp>
        <p:nvSpPr>
          <p:cNvPr id="2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263709" y="1400847"/>
            <a:ext cx="7592715" cy="1206000"/>
          </a:xfrm>
          <a:noFill/>
        </p:spPr>
        <p:txBody>
          <a:bodyPr/>
          <a:lstStyle>
            <a:lvl1pPr>
              <a:defRPr kern="1200" cap="all" spc="0" baseline="0">
                <a:solidFill>
                  <a:schemeClr val="accent2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263709" y="2851200"/>
            <a:ext cx="3600000" cy="1620000"/>
          </a:xfrm>
        </p:spPr>
        <p:txBody>
          <a:bodyPr/>
          <a:lstStyle>
            <a:lvl1pPr marL="0" indent="0">
              <a:spcBef>
                <a:spcPct val="0"/>
              </a:spcBef>
              <a:buFont typeface="Wingdings" pitchFamily="2" charset="2"/>
              <a:buNone/>
              <a:defRPr sz="16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2" name="Text Placeholder 31"/>
          <p:cNvSpPr>
            <a:spLocks noGrp="1"/>
          </p:cNvSpPr>
          <p:nvPr>
            <p:ph type="body" sz="quarter" idx="10"/>
          </p:nvPr>
        </p:nvSpPr>
        <p:spPr>
          <a:xfrm>
            <a:off x="2104085" y="5402512"/>
            <a:ext cx="7810528" cy="196455"/>
          </a:xfrm>
        </p:spPr>
        <p:txBody>
          <a:bodyPr/>
          <a:lstStyle>
            <a:lvl1pPr>
              <a:buNone/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31"/>
          <p:cNvSpPr>
            <a:spLocks noGrp="1"/>
          </p:cNvSpPr>
          <p:nvPr>
            <p:ph type="body" sz="quarter" idx="11"/>
          </p:nvPr>
        </p:nvSpPr>
        <p:spPr>
          <a:xfrm>
            <a:off x="2104085" y="5627541"/>
            <a:ext cx="7810528" cy="196455"/>
          </a:xfrm>
        </p:spPr>
        <p:txBody>
          <a:bodyPr/>
          <a:lstStyle>
            <a:lvl1pPr>
              <a:buNone/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Rectangle 6" descr="Rectangle 6">
            <a:extLst>
              <a:ext uri="{FF2B5EF4-FFF2-40B4-BE49-F238E27FC236}">
                <a16:creationId xmlns:a16="http://schemas.microsoft.com/office/drawing/2014/main" id="{6A19D916-833F-49DB-90AF-36939E76ADD2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11734800" y="6630989"/>
            <a:ext cx="355600" cy="16827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800">
                <a:latin typeface="Futura Medium" panose="00000400000000000000" pitchFamily="2" charset="0"/>
              </a:defRPr>
            </a:lvl1pPr>
          </a:lstStyle>
          <a:p>
            <a:fld id="{5EBA6044-F445-4814-B528-5A66B6617A51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896333761"/>
      </p:ext>
    </p:extLst>
  </p:cSld>
  <p:clrMapOvr>
    <a:masterClrMapping/>
  </p:clrMapOvr>
  <p:transition/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>
            <a:extLst>
              <a:ext uri="{FF2B5EF4-FFF2-40B4-BE49-F238E27FC236}">
                <a16:creationId xmlns:a16="http://schemas.microsoft.com/office/drawing/2014/main" id="{392878FD-FCA1-476A-B2F5-0789A82979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28600"/>
            <a:ext cx="11567584" cy="5159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928800" tIns="133200" rIns="3600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90000"/>
              </a:lnSpc>
              <a:defRPr/>
            </a:pPr>
            <a:endParaRPr lang="en-US" altLang="en-US" sz="2400" b="1">
              <a:solidFill>
                <a:schemeClr val="tx2"/>
              </a:solidFill>
              <a:latin typeface="Futura Medium" pitchFamily="2" charset="0"/>
            </a:endParaRPr>
          </a:p>
        </p:txBody>
      </p:sp>
      <p:sp>
        <p:nvSpPr>
          <p:cNvPr id="5" name="Text Box 11" descr="Text Box 11">
            <a:extLst>
              <a:ext uri="{FF2B5EF4-FFF2-40B4-BE49-F238E27FC236}">
                <a16:creationId xmlns:a16="http://schemas.microsoft.com/office/drawing/2014/main" id="{CE963168-C576-4A3E-ABEF-E78917A65E2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14967" y="6699250"/>
            <a:ext cx="3359151" cy="1587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GB" altLang="en-US" sz="800">
                <a:latin typeface="Futura Medium" pitchFamily="2" charset="0"/>
              </a:rPr>
              <a:t>Copyright of SPDC</a:t>
            </a: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00149" y="295200"/>
            <a:ext cx="10267200" cy="41915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1208682" y="1312201"/>
            <a:ext cx="10361017" cy="5071137"/>
          </a:xfrm>
        </p:spPr>
        <p:txBody>
          <a:bodyPr/>
          <a:lstStyle>
            <a:lvl1pPr marL="0" indent="0" defTabSz="268288">
              <a:lnSpc>
                <a:spcPct val="120000"/>
              </a:lnSpc>
              <a:spcBef>
                <a:spcPts val="0"/>
              </a:spcBef>
              <a:defRPr/>
            </a:lvl1pPr>
            <a:lvl2pPr marL="271463" indent="-271463" defTabSz="268288">
              <a:lnSpc>
                <a:spcPct val="120000"/>
              </a:lnSpc>
              <a:spcBef>
                <a:spcPts val="0"/>
              </a:spcBef>
              <a:defRPr/>
            </a:lvl2pPr>
            <a:lvl3pPr marL="450850" indent="-180975" defTabSz="268288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00"/>
            </a:lvl3pPr>
            <a:lvl4pPr defTabSz="268288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4pPr>
            <a:lvl5pPr defTabSz="268288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5pPr>
            <a:lvl6pPr defTabSz="268288">
              <a:lnSpc>
                <a:spcPct val="12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Rectangle 6" descr="Rectangle 6">
            <a:extLst>
              <a:ext uri="{FF2B5EF4-FFF2-40B4-BE49-F238E27FC236}">
                <a16:creationId xmlns:a16="http://schemas.microsoft.com/office/drawing/2014/main" id="{3E942BE9-8452-4768-AFEB-21611BD450AF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11698817" y="6630989"/>
            <a:ext cx="355600" cy="16827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800">
                <a:latin typeface="Futura Medium" panose="00000400000000000000" pitchFamily="2" charset="0"/>
              </a:defRPr>
            </a:lvl1pPr>
          </a:lstStyle>
          <a:p>
            <a:fld id="{A7D4199B-61FA-44B3-8762-917B3FBDC043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393564804"/>
      </p:ext>
    </p:extLst>
  </p:cSld>
  <p:clrMapOvr>
    <a:masterClrMapping/>
  </p:clrMapOvr>
  <p:transition/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>
            <a:extLst>
              <a:ext uri="{FF2B5EF4-FFF2-40B4-BE49-F238E27FC236}">
                <a16:creationId xmlns:a16="http://schemas.microsoft.com/office/drawing/2014/main" id="{E513EB85-1E0C-483A-A59F-1B4F0399FC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28601"/>
            <a:ext cx="11567584" cy="8937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928800" tIns="133200" rIns="3600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90000"/>
              </a:lnSpc>
              <a:defRPr/>
            </a:pPr>
            <a:endParaRPr lang="en-US" altLang="en-US" sz="2400" b="1">
              <a:solidFill>
                <a:schemeClr val="tx2"/>
              </a:solidFill>
              <a:latin typeface="Futura Medium" pitchFamily="2" charset="0"/>
            </a:endParaRP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00149" y="295200"/>
            <a:ext cx="10267200" cy="741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1208683" y="1312202"/>
            <a:ext cx="10354733" cy="5071136"/>
          </a:xfrm>
        </p:spPr>
        <p:txBody>
          <a:bodyPr/>
          <a:lstStyle>
            <a:lvl1pPr marL="0" indent="0" defTabSz="268288">
              <a:lnSpc>
                <a:spcPct val="120000"/>
              </a:lnSpc>
              <a:spcBef>
                <a:spcPts val="0"/>
              </a:spcBef>
              <a:defRPr sz="1600"/>
            </a:lvl1pPr>
            <a:lvl2pPr marL="271463" indent="-271463" defTabSz="268288">
              <a:lnSpc>
                <a:spcPct val="120000"/>
              </a:lnSpc>
              <a:spcBef>
                <a:spcPts val="0"/>
              </a:spcBef>
              <a:defRPr sz="1600"/>
            </a:lvl2pPr>
            <a:lvl3pPr marL="450850" indent="-180975" defTabSz="268288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3pPr>
            <a:lvl4pPr defTabSz="268288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4pPr>
            <a:lvl5pPr defTabSz="268288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5pPr>
            <a:lvl6pPr defTabSz="268288">
              <a:lnSpc>
                <a:spcPct val="12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Rectangle 6" descr="Rectangle 6">
            <a:extLst>
              <a:ext uri="{FF2B5EF4-FFF2-40B4-BE49-F238E27FC236}">
                <a16:creationId xmlns:a16="http://schemas.microsoft.com/office/drawing/2014/main" id="{3D95F506-3B20-420D-9A41-B2F218EA0B24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11207751" y="6470651"/>
            <a:ext cx="355600" cy="16827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800">
                <a:latin typeface="Futura Medium" panose="00000400000000000000" pitchFamily="2" charset="0"/>
              </a:defRPr>
            </a:lvl1pPr>
          </a:lstStyle>
          <a:p>
            <a:fld id="{506EF290-11D8-4C9F-BC7B-A4A6F325F7D2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661570316"/>
      </p:ext>
    </p:extLst>
  </p:cSld>
  <p:clrMapOvr>
    <a:masterClrMapping/>
  </p:clrMapOvr>
  <p:transition/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13">
            <a:extLst>
              <a:ext uri="{FF2B5EF4-FFF2-40B4-BE49-F238E27FC236}">
                <a16:creationId xmlns:a16="http://schemas.microsoft.com/office/drawing/2014/main" id="{A0F8885B-0289-4554-9BC4-D2A81602CFA5}"/>
              </a:ext>
            </a:extLst>
          </p:cNvPr>
          <p:cNvGrpSpPr>
            <a:grpSpLocks/>
          </p:cNvGrpSpPr>
          <p:nvPr/>
        </p:nvGrpSpPr>
        <p:grpSpPr bwMode="auto">
          <a:xfrm>
            <a:off x="1200151" y="647700"/>
            <a:ext cx="9840383" cy="5634038"/>
            <a:chOff x="900000" y="648000"/>
            <a:chExt cx="7380000" cy="5633999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71B6CF0D-0759-4C3C-889F-F13F369F59F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flipH="1">
              <a:off x="900000" y="1368720"/>
              <a:ext cx="6660891" cy="4913279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defRPr/>
              </a:pPr>
              <a:endParaRPr lang="en-GB" sz="1800">
                <a:latin typeface="Futura Medium"/>
                <a:cs typeface="Arial" charset="0"/>
              </a:endParaRPr>
            </a:p>
          </p:txBody>
        </p:sp>
        <p:sp>
          <p:nvSpPr>
            <p:cNvPr id="7" name="Rectangle 4">
              <a:extLst>
                <a:ext uri="{FF2B5EF4-FFF2-40B4-BE49-F238E27FC236}">
                  <a16:creationId xmlns:a16="http://schemas.microsoft.com/office/drawing/2014/main" id="{EA0DDD73-1216-4DB8-A6CF-AFB52CA2210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flipH="1">
              <a:off x="1620697" y="648000"/>
              <a:ext cx="6659303" cy="4913279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defRPr/>
              </a:pPr>
              <a:endParaRPr lang="en-GB" sz="1800">
                <a:latin typeface="Futura Medium"/>
                <a:cs typeface="Arial" charset="0"/>
              </a:endParaRPr>
            </a:p>
          </p:txBody>
        </p:sp>
        <p:sp>
          <p:nvSpPr>
            <p:cNvPr id="8" name="Rectangle 4">
              <a:extLst>
                <a:ext uri="{FF2B5EF4-FFF2-40B4-BE49-F238E27FC236}">
                  <a16:creationId xmlns:a16="http://schemas.microsoft.com/office/drawing/2014/main" id="{D459E907-368A-4B71-933C-B2AE84D8454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flipH="1">
              <a:off x="1620697" y="1368720"/>
              <a:ext cx="5938606" cy="419255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Futura Medium" pitchFamily="2" charset="0"/>
              </a:endParaRPr>
            </a:p>
          </p:txBody>
        </p:sp>
      </p:grp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2376093" y="3198784"/>
            <a:ext cx="7471291" cy="1362075"/>
          </a:xfrm>
          <a:prstGeom prst="rect">
            <a:avLst/>
          </a:prstGeom>
        </p:spPr>
        <p:txBody>
          <a:bodyPr/>
          <a:lstStyle>
            <a:lvl1pPr algn="l">
              <a:defRPr sz="16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MY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2376093" y="2379407"/>
            <a:ext cx="7471291" cy="741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cap="all" baseline="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2376094" y="1415008"/>
            <a:ext cx="2990836" cy="964626"/>
          </a:xfrm>
          <a:prstGeom prst="rect">
            <a:avLst/>
          </a:prstGeom>
        </p:spPr>
        <p:txBody>
          <a:bodyPr/>
          <a:lstStyle>
            <a:lvl1pPr>
              <a:buNone/>
              <a:defRPr sz="6000">
                <a:solidFill>
                  <a:schemeClr val="accent2"/>
                </a:solidFill>
                <a:latin typeface="Futura Ligh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6" descr="Rectangle 6">
            <a:extLst>
              <a:ext uri="{FF2B5EF4-FFF2-40B4-BE49-F238E27FC236}">
                <a16:creationId xmlns:a16="http://schemas.microsoft.com/office/drawing/2014/main" id="{E029407F-BD77-4CAC-9803-2A795F9F136D}"/>
              </a:ext>
            </a:extLst>
          </p:cNvPr>
          <p:cNvSpPr>
            <a:spLocks noGrp="1" noChangeArrowheads="1"/>
          </p:cNvSpPr>
          <p:nvPr>
            <p:ph type="sldNum" sz="quarter" idx="14"/>
          </p:nvPr>
        </p:nvSpPr>
        <p:spPr bwMode="auto">
          <a:xfrm>
            <a:off x="11207751" y="6470651"/>
            <a:ext cx="355600" cy="16827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800">
                <a:latin typeface="Futura Medium" panose="00000400000000000000" pitchFamily="2" charset="0"/>
              </a:defRPr>
            </a:lvl1pPr>
          </a:lstStyle>
          <a:p>
            <a:fld id="{CF138DF8-2375-4DC6-9BB6-338E9C27B2BD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215590214"/>
      </p:ext>
    </p:extLst>
  </p:cSld>
  <p:clrMapOvr>
    <a:masterClrMapping/>
  </p:clrMapOvr>
  <p:transition/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>
            <a:extLst>
              <a:ext uri="{FF2B5EF4-FFF2-40B4-BE49-F238E27FC236}">
                <a16:creationId xmlns:a16="http://schemas.microsoft.com/office/drawing/2014/main" id="{18F57D09-9F6C-4A52-AA0F-49BBF0DCC5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28600"/>
            <a:ext cx="11567584" cy="5159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928800" tIns="133200" rIns="3600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90000"/>
              </a:lnSpc>
              <a:defRPr/>
            </a:pPr>
            <a:endParaRPr lang="en-US" altLang="en-US" sz="2400" b="1">
              <a:solidFill>
                <a:schemeClr val="tx2"/>
              </a:solidFill>
              <a:latin typeface="Futura Medium" pitchFamily="2" charset="0"/>
            </a:endParaRP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00149" y="295200"/>
            <a:ext cx="10267200" cy="41915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Rectangle 6" descr="Rectangle 6">
            <a:extLst>
              <a:ext uri="{FF2B5EF4-FFF2-40B4-BE49-F238E27FC236}">
                <a16:creationId xmlns:a16="http://schemas.microsoft.com/office/drawing/2014/main" id="{4582B191-FA82-4115-A3E4-D5E0A911DB60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11207751" y="6470651"/>
            <a:ext cx="355600" cy="16827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800">
                <a:latin typeface="Futura Medium" panose="00000400000000000000" pitchFamily="2" charset="0"/>
              </a:defRPr>
            </a:lvl1pPr>
          </a:lstStyle>
          <a:p>
            <a:fld id="{3AC6B00C-9CB3-4F0E-B76D-A5A00AA3D700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914048890"/>
      </p:ext>
    </p:extLst>
  </p:cSld>
  <p:clrMapOvr>
    <a:masterClrMapping/>
  </p:clrMapOvr>
  <p:transition/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image" Target="../media/image1.emf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tags" Target="../tags/tag29.xml"/><Relationship Id="rId18" Type="http://schemas.openxmlformats.org/officeDocument/2006/relationships/tags" Target="../tags/tag34.xml"/><Relationship Id="rId3" Type="http://schemas.openxmlformats.org/officeDocument/2006/relationships/theme" Target="../theme/theme2.xml"/><Relationship Id="rId21" Type="http://schemas.openxmlformats.org/officeDocument/2006/relationships/tags" Target="../tags/tag37.xml"/><Relationship Id="rId7" Type="http://schemas.openxmlformats.org/officeDocument/2006/relationships/tags" Target="../tags/tag23.xml"/><Relationship Id="rId12" Type="http://schemas.openxmlformats.org/officeDocument/2006/relationships/tags" Target="../tags/tag28.xml"/><Relationship Id="rId17" Type="http://schemas.openxmlformats.org/officeDocument/2006/relationships/tags" Target="../tags/tag33.xml"/><Relationship Id="rId2" Type="http://schemas.openxmlformats.org/officeDocument/2006/relationships/slideLayout" Target="../slideLayouts/slideLayout4.xml"/><Relationship Id="rId16" Type="http://schemas.openxmlformats.org/officeDocument/2006/relationships/tags" Target="../tags/tag32.xml"/><Relationship Id="rId20" Type="http://schemas.openxmlformats.org/officeDocument/2006/relationships/tags" Target="../tags/tag36.xml"/><Relationship Id="rId1" Type="http://schemas.openxmlformats.org/officeDocument/2006/relationships/slideLayout" Target="../slideLayouts/slideLayout3.xml"/><Relationship Id="rId6" Type="http://schemas.openxmlformats.org/officeDocument/2006/relationships/tags" Target="../tags/tag22.xml"/><Relationship Id="rId11" Type="http://schemas.openxmlformats.org/officeDocument/2006/relationships/tags" Target="../tags/tag27.xml"/><Relationship Id="rId5" Type="http://schemas.openxmlformats.org/officeDocument/2006/relationships/tags" Target="../tags/tag21.xml"/><Relationship Id="rId15" Type="http://schemas.openxmlformats.org/officeDocument/2006/relationships/tags" Target="../tags/tag31.xml"/><Relationship Id="rId23" Type="http://schemas.openxmlformats.org/officeDocument/2006/relationships/image" Target="../media/image1.emf"/><Relationship Id="rId10" Type="http://schemas.openxmlformats.org/officeDocument/2006/relationships/tags" Target="../tags/tag26.xml"/><Relationship Id="rId19" Type="http://schemas.openxmlformats.org/officeDocument/2006/relationships/tags" Target="../tags/tag35.xml"/><Relationship Id="rId4" Type="http://schemas.openxmlformats.org/officeDocument/2006/relationships/vmlDrawing" Target="../drawings/vmlDrawing4.vml"/><Relationship Id="rId9" Type="http://schemas.openxmlformats.org/officeDocument/2006/relationships/tags" Target="../tags/tag25.xml"/><Relationship Id="rId14" Type="http://schemas.openxmlformats.org/officeDocument/2006/relationships/tags" Target="../tags/tag30.xml"/><Relationship Id="rId22" Type="http://schemas.openxmlformats.org/officeDocument/2006/relationships/oleObject" Target="../embeddings/oleObject4.bin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5" Type="http://schemas.openxmlformats.org/officeDocument/2006/relationships/slideLayout" Target="../slideLayouts/slideLayout9.xml"/><Relationship Id="rId4" Type="http://schemas.openxmlformats.org/officeDocument/2006/relationships/slideLayout" Target="../slideLayouts/slideLayout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23.xml"/><Relationship Id="rId18" Type="http://schemas.openxmlformats.org/officeDocument/2006/relationships/theme" Target="../theme/theme4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1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2.xml"/><Relationship Id="rId16" Type="http://schemas.openxmlformats.org/officeDocument/2006/relationships/slideLayout" Target="../slideLayouts/slideLayout26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255072852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1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624749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69489" y="2825007"/>
            <a:ext cx="585302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508011" y="623131"/>
            <a:ext cx="11188689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508011" y="290022"/>
            <a:ext cx="61875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508011" y="993244"/>
            <a:ext cx="1118868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3169489" y="2251617"/>
            <a:ext cx="5853024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" name="Slide Elements" hidden="1"/>
          <p:cNvGrpSpPr>
            <a:grpSpLocks/>
          </p:cNvGrpSpPr>
          <p:nvPr userDrawn="1"/>
        </p:nvGrpSpPr>
        <p:grpSpPr bwMode="auto">
          <a:xfrm>
            <a:off x="508011" y="6471314"/>
            <a:ext cx="11188689" cy="300884"/>
            <a:chOff x="172517" y="5852055"/>
            <a:chExt cx="8796540" cy="300884"/>
          </a:xfrm>
        </p:grpSpPr>
        <p:sp>
          <p:nvSpPr>
            <p:cNvPr id="64" name="4. Footnote"/>
            <p:cNvSpPr txBox="1">
              <a:spLocks noChangeArrowheads="1"/>
            </p:cNvSpPr>
            <p:nvPr/>
          </p:nvSpPr>
          <p:spPr bwMode="auto">
            <a:xfrm>
              <a:off x="172517" y="5852055"/>
              <a:ext cx="879654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8900" indent="-88900">
                <a:defRPr/>
              </a:pPr>
              <a:r>
                <a:rPr lang="en-US" sz="800" baseline="0" noProof="0" dirty="0">
                  <a:latin typeface="+mn-lt"/>
                </a:rPr>
                <a:t>1 Footnote</a:t>
              </a:r>
            </a:p>
          </p:txBody>
        </p:sp>
        <p:sp>
          <p:nvSpPr>
            <p:cNvPr id="65" name="5. Source"/>
            <p:cNvSpPr>
              <a:spLocks noChangeArrowheads="1"/>
            </p:cNvSpPr>
            <p:nvPr/>
          </p:nvSpPr>
          <p:spPr bwMode="auto">
            <a:xfrm>
              <a:off x="172517" y="6029828"/>
              <a:ext cx="8252075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47663" indent="-347663" defTabSz="895350">
                <a:tabLst>
                  <a:tab pos="346075" algn="l"/>
                </a:tabLst>
              </a:pPr>
              <a:r>
                <a:rPr lang="en-US" sz="8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sp>
        <p:nvSpPr>
          <p:cNvPr id="66" name="Slide Number"/>
          <p:cNvSpPr txBox="1">
            <a:spLocks/>
          </p:cNvSpPr>
          <p:nvPr userDrawn="1"/>
        </p:nvSpPr>
        <p:spPr bwMode="auto">
          <a:xfrm>
            <a:off x="11566856" y="6649088"/>
            <a:ext cx="12984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/>
              <a:pPr lvl="0" algn="r"/>
              <a:t>‹#›</a:t>
            </a:fld>
            <a:endParaRPr lang="en-US" sz="800" dirty="0"/>
          </a:p>
        </p:txBody>
      </p:sp>
      <p:sp>
        <p:nvSpPr>
          <p:cNvPr id="74" name="Rectangle 73" descr="&lt;Shell Yellow Bar&gt;" title="&lt;Shell Yellow Bar&gt;"/>
          <p:cNvSpPr/>
          <p:nvPr userDrawn="1"/>
        </p:nvSpPr>
        <p:spPr bwMode="auto">
          <a:xfrm>
            <a:off x="508011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grpSp>
        <p:nvGrpSpPr>
          <p:cNvPr id="93" name="LegendBoxes" hidden="1"/>
          <p:cNvGrpSpPr/>
          <p:nvPr userDrawn="1"/>
        </p:nvGrpSpPr>
        <p:grpSpPr bwMode="auto">
          <a:xfrm>
            <a:off x="10982638" y="674085"/>
            <a:ext cx="714062" cy="997467"/>
            <a:chOff x="7835905" y="279400"/>
            <a:chExt cx="714062" cy="997467"/>
          </a:xfrm>
        </p:grpSpPr>
        <p:sp>
          <p:nvSpPr>
            <p:cNvPr id="94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5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6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7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8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0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2" name="LegendLines" hidden="1"/>
          <p:cNvGrpSpPr/>
          <p:nvPr userDrawn="1"/>
        </p:nvGrpSpPr>
        <p:grpSpPr bwMode="auto">
          <a:xfrm>
            <a:off x="10674663" y="674085"/>
            <a:ext cx="1022037" cy="730767"/>
            <a:chOff x="7540629" y="279400"/>
            <a:chExt cx="1022037" cy="730767"/>
          </a:xfrm>
        </p:grpSpPr>
        <p:sp>
          <p:nvSpPr>
            <p:cNvPr id="103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4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5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6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7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8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9" name="LegendMoons" hidden="1"/>
          <p:cNvGrpSpPr/>
          <p:nvPr userDrawn="1"/>
        </p:nvGrpSpPr>
        <p:grpSpPr bwMode="auto">
          <a:xfrm>
            <a:off x="10915963" y="674085"/>
            <a:ext cx="780737" cy="1306516"/>
            <a:chOff x="7769225" y="250825"/>
            <a:chExt cx="780737" cy="1306516"/>
          </a:xfrm>
        </p:grpSpPr>
        <p:grpSp>
          <p:nvGrpSpPr>
            <p:cNvPr id="110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28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9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1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26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7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2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24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5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3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22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3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20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1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5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6" name="Legend2"/>
            <p:cNvSpPr>
              <a:spLocks noChangeArrowheads="1"/>
            </p:cNvSpPr>
            <p:nvPr/>
          </p:nvSpPr>
          <p:spPr bwMode="auto">
            <a:xfrm>
              <a:off x="8089900" y="538163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7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8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5" name="McKSticker" hidden="1"/>
          <p:cNvGrpSpPr/>
          <p:nvPr userDrawn="1"/>
        </p:nvGrpSpPr>
        <p:grpSpPr bwMode="auto">
          <a:xfrm>
            <a:off x="11306721" y="739932"/>
            <a:ext cx="389979" cy="150811"/>
            <a:chOff x="8350796" y="285750"/>
            <a:chExt cx="389979" cy="150811"/>
          </a:xfrm>
        </p:grpSpPr>
        <p:sp>
          <p:nvSpPr>
            <p:cNvPr id="76" name="StickerRectangle"/>
            <p:cNvSpPr>
              <a:spLocks noChangeArrowheads="1"/>
            </p:cNvSpPr>
            <p:nvPr/>
          </p:nvSpPr>
          <p:spPr bwMode="auto">
            <a:xfrm>
              <a:off x="8350796" y="285750"/>
              <a:ext cx="389979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GB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77" name="AutoShape 31"/>
            <p:cNvCxnSpPr>
              <a:cxnSpLocks noChangeShapeType="1"/>
              <a:stCxn id="76" idx="2"/>
              <a:endCxn id="76" idx="4"/>
            </p:cNvCxnSpPr>
            <p:nvPr/>
          </p:nvCxnSpPr>
          <p:spPr bwMode="auto">
            <a:xfrm>
              <a:off x="8350796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" name="AutoShape 32"/>
            <p:cNvCxnSpPr>
              <a:cxnSpLocks noChangeShapeType="1"/>
              <a:stCxn id="76" idx="4"/>
              <a:endCxn id="76" idx="6"/>
            </p:cNvCxnSpPr>
            <p:nvPr/>
          </p:nvCxnSpPr>
          <p:spPr bwMode="auto">
            <a:xfrm>
              <a:off x="8350796" y="436561"/>
              <a:ext cx="38997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30" name="Moon" hidden="1"/>
          <p:cNvGrpSpPr/>
          <p:nvPr userDrawn="1">
            <p:custDataLst>
              <p:tags r:id="rId6"/>
            </p:custDataLst>
          </p:nvPr>
        </p:nvGrpSpPr>
        <p:grpSpPr bwMode="auto">
          <a:xfrm>
            <a:off x="10200968" y="1404852"/>
            <a:ext cx="254000" cy="254000"/>
            <a:chOff x="762000" y="1270000"/>
            <a:chExt cx="254000" cy="254000"/>
          </a:xfrm>
        </p:grpSpPr>
        <p:sp>
          <p:nvSpPr>
            <p:cNvPr id="131" name="Oval 130"/>
            <p:cNvSpPr/>
            <p:nvPr/>
          </p:nvSpPr>
          <p:spPr bwMode="auto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32" name="Arc 131"/>
            <p:cNvSpPr/>
            <p:nvPr/>
          </p:nvSpPr>
          <p:spPr bwMode="auto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2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6689390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200" b="1" baseline="0">
          <a:solidFill>
            <a:schemeClr val="tx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2">
          <p15:clr>
            <a:srgbClr val="F26B43"/>
          </p15:clr>
        </p15:guide>
        <p15:guide id="2" pos="312">
          <p15:clr>
            <a:srgbClr val="F26B43"/>
          </p15:clr>
        </p15:guide>
        <p15:guide id="3" pos="7368">
          <p15:clr>
            <a:srgbClr val="F26B43"/>
          </p15:clr>
        </p15:guide>
        <p15:guide id="4" orient="horz" pos="424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570642301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5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624749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69489" y="2825007"/>
            <a:ext cx="585302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508011" y="623131"/>
            <a:ext cx="11188689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508011" y="290022"/>
            <a:ext cx="61875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508011" y="993244"/>
            <a:ext cx="1118868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3169489" y="2251617"/>
            <a:ext cx="5853024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" name="Slide Elements" hidden="1"/>
          <p:cNvGrpSpPr>
            <a:grpSpLocks/>
          </p:cNvGrpSpPr>
          <p:nvPr userDrawn="1"/>
        </p:nvGrpSpPr>
        <p:grpSpPr bwMode="auto">
          <a:xfrm>
            <a:off x="508011" y="6471314"/>
            <a:ext cx="11188689" cy="300884"/>
            <a:chOff x="172517" y="5852055"/>
            <a:chExt cx="8796540" cy="300884"/>
          </a:xfrm>
        </p:grpSpPr>
        <p:sp>
          <p:nvSpPr>
            <p:cNvPr id="64" name="4. Footnote"/>
            <p:cNvSpPr txBox="1">
              <a:spLocks noChangeArrowheads="1"/>
            </p:cNvSpPr>
            <p:nvPr/>
          </p:nvSpPr>
          <p:spPr bwMode="auto">
            <a:xfrm>
              <a:off x="172517" y="5852055"/>
              <a:ext cx="879654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8900" indent="-88900">
                <a:defRPr/>
              </a:pPr>
              <a:r>
                <a:rPr lang="en-US" sz="800" baseline="0" noProof="0" dirty="0">
                  <a:latin typeface="+mn-lt"/>
                </a:rPr>
                <a:t>1 Footnote</a:t>
              </a:r>
            </a:p>
          </p:txBody>
        </p:sp>
        <p:sp>
          <p:nvSpPr>
            <p:cNvPr id="65" name="5. Source"/>
            <p:cNvSpPr>
              <a:spLocks noChangeArrowheads="1"/>
            </p:cNvSpPr>
            <p:nvPr/>
          </p:nvSpPr>
          <p:spPr bwMode="auto">
            <a:xfrm>
              <a:off x="172517" y="6029828"/>
              <a:ext cx="8252075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47663" indent="-347663" defTabSz="895350">
                <a:tabLst>
                  <a:tab pos="346075" algn="l"/>
                </a:tabLst>
              </a:pPr>
              <a:r>
                <a:rPr lang="en-US" sz="8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sp>
        <p:nvSpPr>
          <p:cNvPr id="66" name="Slide Number"/>
          <p:cNvSpPr txBox="1">
            <a:spLocks/>
          </p:cNvSpPr>
          <p:nvPr userDrawn="1"/>
        </p:nvSpPr>
        <p:spPr bwMode="auto">
          <a:xfrm>
            <a:off x="11566856" y="6649088"/>
            <a:ext cx="12984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/>
              <a:pPr lvl="0" algn="r"/>
              <a:t>‹#›</a:t>
            </a:fld>
            <a:endParaRPr lang="en-US" sz="800" dirty="0"/>
          </a:p>
        </p:txBody>
      </p:sp>
      <p:sp>
        <p:nvSpPr>
          <p:cNvPr id="74" name="Rectangle 73" descr="&lt;Shell Yellow Bar&gt;" title="&lt;Shell Yellow Bar&gt;"/>
          <p:cNvSpPr/>
          <p:nvPr userDrawn="1"/>
        </p:nvSpPr>
        <p:spPr bwMode="auto">
          <a:xfrm>
            <a:off x="508011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grpSp>
        <p:nvGrpSpPr>
          <p:cNvPr id="93" name="LegendBoxes" hidden="1"/>
          <p:cNvGrpSpPr/>
          <p:nvPr userDrawn="1"/>
        </p:nvGrpSpPr>
        <p:grpSpPr bwMode="auto">
          <a:xfrm>
            <a:off x="10982638" y="674085"/>
            <a:ext cx="714062" cy="997467"/>
            <a:chOff x="7835905" y="279400"/>
            <a:chExt cx="714062" cy="997467"/>
          </a:xfrm>
        </p:grpSpPr>
        <p:sp>
          <p:nvSpPr>
            <p:cNvPr id="94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5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6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7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8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0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2" name="LegendLines" hidden="1"/>
          <p:cNvGrpSpPr/>
          <p:nvPr userDrawn="1"/>
        </p:nvGrpSpPr>
        <p:grpSpPr bwMode="auto">
          <a:xfrm>
            <a:off x="10674663" y="674085"/>
            <a:ext cx="1022037" cy="730767"/>
            <a:chOff x="7540629" y="279400"/>
            <a:chExt cx="1022037" cy="730767"/>
          </a:xfrm>
        </p:grpSpPr>
        <p:sp>
          <p:nvSpPr>
            <p:cNvPr id="103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4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5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6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7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8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9" name="LegendMoons" hidden="1"/>
          <p:cNvGrpSpPr/>
          <p:nvPr userDrawn="1"/>
        </p:nvGrpSpPr>
        <p:grpSpPr bwMode="auto">
          <a:xfrm>
            <a:off x="10915963" y="674085"/>
            <a:ext cx="780737" cy="1306516"/>
            <a:chOff x="7769225" y="250825"/>
            <a:chExt cx="780737" cy="1306516"/>
          </a:xfrm>
        </p:grpSpPr>
        <p:grpSp>
          <p:nvGrpSpPr>
            <p:cNvPr id="110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28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9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1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26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7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2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24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5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3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22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3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20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1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5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6" name="Legend2"/>
            <p:cNvSpPr>
              <a:spLocks noChangeArrowheads="1"/>
            </p:cNvSpPr>
            <p:nvPr/>
          </p:nvSpPr>
          <p:spPr bwMode="auto">
            <a:xfrm>
              <a:off x="8089900" y="538163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7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8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5" name="McKSticker" hidden="1"/>
          <p:cNvGrpSpPr/>
          <p:nvPr userDrawn="1"/>
        </p:nvGrpSpPr>
        <p:grpSpPr bwMode="auto">
          <a:xfrm>
            <a:off x="11306721" y="739932"/>
            <a:ext cx="389979" cy="150811"/>
            <a:chOff x="8350796" y="285750"/>
            <a:chExt cx="389979" cy="150811"/>
          </a:xfrm>
        </p:grpSpPr>
        <p:sp>
          <p:nvSpPr>
            <p:cNvPr id="76" name="StickerRectangle"/>
            <p:cNvSpPr>
              <a:spLocks noChangeArrowheads="1"/>
            </p:cNvSpPr>
            <p:nvPr/>
          </p:nvSpPr>
          <p:spPr bwMode="auto">
            <a:xfrm>
              <a:off x="8350796" y="285750"/>
              <a:ext cx="389979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GB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77" name="AutoShape 31"/>
            <p:cNvCxnSpPr>
              <a:cxnSpLocks noChangeShapeType="1"/>
              <a:stCxn id="76" idx="2"/>
              <a:endCxn id="76" idx="4"/>
            </p:cNvCxnSpPr>
            <p:nvPr/>
          </p:nvCxnSpPr>
          <p:spPr bwMode="auto">
            <a:xfrm>
              <a:off x="8350796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" name="AutoShape 32"/>
            <p:cNvCxnSpPr>
              <a:cxnSpLocks noChangeShapeType="1"/>
              <a:stCxn id="76" idx="4"/>
              <a:endCxn id="76" idx="6"/>
            </p:cNvCxnSpPr>
            <p:nvPr/>
          </p:nvCxnSpPr>
          <p:spPr bwMode="auto">
            <a:xfrm>
              <a:off x="8350796" y="436561"/>
              <a:ext cx="38997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30" name="Moon" hidden="1"/>
          <p:cNvGrpSpPr/>
          <p:nvPr userDrawn="1">
            <p:custDataLst>
              <p:tags r:id="rId6"/>
            </p:custDataLst>
          </p:nvPr>
        </p:nvGrpSpPr>
        <p:grpSpPr bwMode="auto">
          <a:xfrm>
            <a:off x="10200968" y="1404852"/>
            <a:ext cx="254000" cy="254000"/>
            <a:chOff x="762000" y="1270000"/>
            <a:chExt cx="254000" cy="254000"/>
          </a:xfrm>
        </p:grpSpPr>
        <p:sp>
          <p:nvSpPr>
            <p:cNvPr id="131" name="Oval 130"/>
            <p:cNvSpPr/>
            <p:nvPr/>
          </p:nvSpPr>
          <p:spPr bwMode="auto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32" name="Arc 131"/>
            <p:cNvSpPr/>
            <p:nvPr/>
          </p:nvSpPr>
          <p:spPr bwMode="auto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2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360515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200" b="1" baseline="0">
          <a:solidFill>
            <a:schemeClr val="tx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2">
          <p15:clr>
            <a:srgbClr val="F26B43"/>
          </p15:clr>
        </p15:guide>
        <p15:guide id="2" pos="312">
          <p15:clr>
            <a:srgbClr val="F26B43"/>
          </p15:clr>
        </p15:guide>
        <p15:guide id="3" pos="7368">
          <p15:clr>
            <a:srgbClr val="F26B43"/>
          </p15:clr>
        </p15:guide>
        <p15:guide id="4" orient="horz" pos="424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3">
            <a:extLst>
              <a:ext uri="{FF2B5EF4-FFF2-40B4-BE49-F238E27FC236}">
                <a16:creationId xmlns:a16="http://schemas.microsoft.com/office/drawing/2014/main" id="{67A086CF-FA82-4471-92CB-5A1F5465C1E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1212851" y="1309688"/>
            <a:ext cx="10329333" cy="50720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Xx</a:t>
            </a:r>
          </a:p>
          <a:p>
            <a:pPr lvl="5"/>
            <a:r>
              <a:rPr lang="en-GB" dirty="0"/>
              <a:t>xx</a:t>
            </a:r>
          </a:p>
        </p:txBody>
      </p:sp>
      <p:sp>
        <p:nvSpPr>
          <p:cNvPr id="1027" name="Rectangle 2">
            <a:extLst>
              <a:ext uri="{FF2B5EF4-FFF2-40B4-BE49-F238E27FC236}">
                <a16:creationId xmlns:a16="http://schemas.microsoft.com/office/drawing/2014/main" id="{D7B2C726-FCC9-4E91-9260-87EADA5D3D6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200151" y="295275"/>
            <a:ext cx="10267949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00932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</p:sldLayoutIdLst>
  <p:transition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Futura Medium" pitchFamily="2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Futura Medium" pitchFamily="2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Futura Medium" pitchFamily="2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Futura Medium" pitchFamily="2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Futura Medium" pitchFamily="2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Futura Medium" pitchFamily="2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Futura Medium" pitchFamily="2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Futura Medium" pitchFamily="2" charset="0"/>
        </a:defRPr>
      </a:lvl9pPr>
    </p:titleStyle>
    <p:bodyStyle>
      <a:lvl1pPr algn="l" defTabSz="268288" rtl="0" eaLnBrk="0" fontAlgn="base" hangingPunct="0">
        <a:lnSpc>
          <a:spcPct val="120000"/>
        </a:lnSpc>
        <a:spcBef>
          <a:spcPct val="0"/>
        </a:spcBef>
        <a:spcAft>
          <a:spcPts val="600"/>
        </a:spcAft>
        <a:buClr>
          <a:schemeClr val="accent2"/>
        </a:buClr>
        <a:buSzPct val="85000"/>
        <a:buFont typeface="Wingdings" panose="05000000000000000000" pitchFamily="2" charset="2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69875" indent="-269875" algn="l" defTabSz="268288" rtl="0" eaLnBrk="0" fontAlgn="base" hangingPunct="0">
        <a:lnSpc>
          <a:spcPct val="120000"/>
        </a:lnSpc>
        <a:spcBef>
          <a:spcPct val="0"/>
        </a:spcBef>
        <a:spcAft>
          <a:spcPts val="600"/>
        </a:spcAft>
        <a:buClr>
          <a:schemeClr val="accent2"/>
        </a:buClr>
        <a:buSzPct val="85000"/>
        <a:buFont typeface="Wingdings" panose="05000000000000000000" pitchFamily="2" charset="2"/>
        <a:buChar char="n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54025" indent="-184150" algn="l" defTabSz="268288" rtl="0" eaLnBrk="0" fontAlgn="base" hangingPunct="0">
        <a:lnSpc>
          <a:spcPct val="120000"/>
        </a:lnSpc>
        <a:spcBef>
          <a:spcPct val="0"/>
        </a:spcBef>
        <a:spcAft>
          <a:spcPts val="600"/>
        </a:spcAft>
        <a:buClr>
          <a:schemeClr val="tx1"/>
        </a:buClr>
        <a:buSzPct val="75000"/>
        <a:buFont typeface="Wingdings" panose="05000000000000000000" pitchFamily="2" charset="2"/>
        <a:buChar char="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631825" indent="-177800" algn="l" defTabSz="268288" rtl="0" eaLnBrk="0" fontAlgn="base" hangingPunct="0">
        <a:lnSpc>
          <a:spcPct val="120000"/>
        </a:lnSpc>
        <a:spcBef>
          <a:spcPct val="0"/>
        </a:spcBef>
        <a:spcAft>
          <a:spcPts val="600"/>
        </a:spcAft>
        <a:buClr>
          <a:schemeClr val="tx1"/>
        </a:buClr>
        <a:buSzPct val="75000"/>
        <a:buFont typeface="Wingdings" panose="05000000000000000000" pitchFamily="2" charset="2"/>
        <a:buChar char="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11213" indent="-173038" algn="l" defTabSz="268288" rtl="0" eaLnBrk="0" fontAlgn="base" hangingPunct="0">
        <a:lnSpc>
          <a:spcPct val="120000"/>
        </a:lnSpc>
        <a:spcBef>
          <a:spcPct val="0"/>
        </a:spcBef>
        <a:spcAft>
          <a:spcPts val="600"/>
        </a:spcAft>
        <a:buClr>
          <a:schemeClr val="tx1"/>
        </a:buClr>
        <a:buSzPct val="75000"/>
        <a:buFont typeface="Wingdings" panose="05000000000000000000" pitchFamily="2" charset="2"/>
        <a:buChar char="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989013" indent="-177800" algn="l" defTabSz="268288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SzPct val="75000"/>
        <a:buFont typeface="Wingdings" pitchFamily="2" charset="2"/>
        <a:buChar char="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528763"/>
            <a:ext cx="11171238" cy="48307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40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3" descr="&lt;Shell Yellow Bar&gt;" title="&lt;Shell Yellow Bar&gt;"/>
          <p:cNvSpPr/>
          <p:nvPr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 </a:t>
            </a:r>
          </a:p>
        </p:txBody>
      </p:sp>
      <p:sp>
        <p:nvSpPr>
          <p:cNvPr id="83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Futura Medium" panose="00000400000000000000" pitchFamily="2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8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Futura Medium" panose="00000400000000000000" pitchFamily="2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39638035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</p:sldLayoutIdLst>
  <p:transition>
    <p:fade/>
  </p:transition>
  <p:hf sldNum="0" hdr="0" ftr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b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Char char="n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59000" indent="-228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687600" indent="-228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90800" indent="-2032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43200" indent="-152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20">
          <p15:clr>
            <a:srgbClr val="F26B43"/>
          </p15:clr>
        </p15:guide>
        <p15:guide id="3" pos="7357">
          <p15:clr>
            <a:srgbClr val="F26B43"/>
          </p15:clr>
        </p15:guide>
        <p15:guide id="4" orient="horz" pos="444">
          <p15:clr>
            <a:srgbClr val="F26B43"/>
          </p15:clr>
        </p15:guide>
        <p15:guide id="5" orient="horz" pos="963">
          <p15:clr>
            <a:srgbClr val="F26B43"/>
          </p15:clr>
        </p15:guide>
        <p15:guide id="6" orient="horz" pos="928">
          <p15:clr>
            <a:srgbClr val="F26B43"/>
          </p15:clr>
        </p15:guide>
        <p15:guide id="7" orient="horz" pos="4071">
          <p15:clr>
            <a:srgbClr val="F26B43"/>
          </p15:clr>
        </p15:guide>
        <p15:guide id="8" orient="horz" pos="4006">
          <p15:clr>
            <a:srgbClr val="F26B43"/>
          </p15:clr>
        </p15:guide>
        <p15:guide id="9" pos="3765">
          <p15:clr>
            <a:srgbClr val="F26B43"/>
          </p15:clr>
        </p15:guide>
        <p15:guide id="10" pos="3915">
          <p15:clr>
            <a:srgbClr val="F26B43"/>
          </p15:clr>
        </p15:guide>
        <p15:guide id="11" orient="horz" pos="320">
          <p15:clr>
            <a:srgbClr val="F26B43"/>
          </p15:clr>
        </p15:guide>
        <p15:guide id="12" orient="horz" pos="368">
          <p15:clr>
            <a:srgbClr val="F26B43"/>
          </p15:clr>
        </p15:guide>
        <p15:guide id="13" pos="1121">
          <p15:clr>
            <a:srgbClr val="F26B43"/>
          </p15:clr>
        </p15:guide>
        <p15:guide id="14" orient="horz" pos="42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13" Type="http://schemas.openxmlformats.org/officeDocument/2006/relationships/image" Target="../media/image7.emf"/><Relationship Id="rId18" Type="http://schemas.openxmlformats.org/officeDocument/2006/relationships/image" Target="../media/image12.png"/><Relationship Id="rId3" Type="http://schemas.openxmlformats.org/officeDocument/2006/relationships/tags" Target="../tags/tag41.xml"/><Relationship Id="rId21" Type="http://schemas.openxmlformats.org/officeDocument/2006/relationships/image" Target="../media/image15.svg"/><Relationship Id="rId7" Type="http://schemas.openxmlformats.org/officeDocument/2006/relationships/tags" Target="../tags/tag45.xml"/><Relationship Id="rId12" Type="http://schemas.openxmlformats.org/officeDocument/2006/relationships/oleObject" Target="../embeddings/oleObject7.bin"/><Relationship Id="rId17" Type="http://schemas.openxmlformats.org/officeDocument/2006/relationships/image" Target="../media/image11.svg"/><Relationship Id="rId2" Type="http://schemas.openxmlformats.org/officeDocument/2006/relationships/tags" Target="../tags/tag40.xml"/><Relationship Id="rId16" Type="http://schemas.openxmlformats.org/officeDocument/2006/relationships/image" Target="../media/image10.png"/><Relationship Id="rId20" Type="http://schemas.openxmlformats.org/officeDocument/2006/relationships/image" Target="../media/image14.png"/><Relationship Id="rId1" Type="http://schemas.openxmlformats.org/officeDocument/2006/relationships/vmlDrawing" Target="../drawings/vmlDrawing7.vml"/><Relationship Id="rId6" Type="http://schemas.openxmlformats.org/officeDocument/2006/relationships/tags" Target="../tags/tag44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43.xml"/><Relationship Id="rId15" Type="http://schemas.openxmlformats.org/officeDocument/2006/relationships/image" Target="../media/image9.svg"/><Relationship Id="rId10" Type="http://schemas.openxmlformats.org/officeDocument/2006/relationships/tags" Target="../tags/tag48.xml"/><Relationship Id="rId19" Type="http://schemas.openxmlformats.org/officeDocument/2006/relationships/image" Target="../media/image13.svg"/><Relationship Id="rId4" Type="http://schemas.openxmlformats.org/officeDocument/2006/relationships/tags" Target="../tags/tag42.xml"/><Relationship Id="rId9" Type="http://schemas.openxmlformats.org/officeDocument/2006/relationships/tags" Target="../tags/tag47.xml"/><Relationship Id="rId14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13" Type="http://schemas.openxmlformats.org/officeDocument/2006/relationships/image" Target="../media/image7.emf"/><Relationship Id="rId18" Type="http://schemas.openxmlformats.org/officeDocument/2006/relationships/image" Target="../media/image12.png"/><Relationship Id="rId3" Type="http://schemas.openxmlformats.org/officeDocument/2006/relationships/tags" Target="../tags/tag50.xml"/><Relationship Id="rId21" Type="http://schemas.openxmlformats.org/officeDocument/2006/relationships/image" Target="../media/image15.svg"/><Relationship Id="rId7" Type="http://schemas.openxmlformats.org/officeDocument/2006/relationships/tags" Target="../tags/tag54.xml"/><Relationship Id="rId12" Type="http://schemas.openxmlformats.org/officeDocument/2006/relationships/oleObject" Target="../embeddings/oleObject7.bin"/><Relationship Id="rId17" Type="http://schemas.openxmlformats.org/officeDocument/2006/relationships/image" Target="../media/image11.svg"/><Relationship Id="rId2" Type="http://schemas.openxmlformats.org/officeDocument/2006/relationships/tags" Target="../tags/tag49.xml"/><Relationship Id="rId16" Type="http://schemas.openxmlformats.org/officeDocument/2006/relationships/image" Target="../media/image10.png"/><Relationship Id="rId20" Type="http://schemas.openxmlformats.org/officeDocument/2006/relationships/image" Target="../media/image14.png"/><Relationship Id="rId1" Type="http://schemas.openxmlformats.org/officeDocument/2006/relationships/vmlDrawing" Target="../drawings/vmlDrawing8.vml"/><Relationship Id="rId6" Type="http://schemas.openxmlformats.org/officeDocument/2006/relationships/tags" Target="../tags/tag53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52.xml"/><Relationship Id="rId15" Type="http://schemas.openxmlformats.org/officeDocument/2006/relationships/image" Target="../media/image9.svg"/><Relationship Id="rId10" Type="http://schemas.openxmlformats.org/officeDocument/2006/relationships/tags" Target="../tags/tag57.xml"/><Relationship Id="rId19" Type="http://schemas.openxmlformats.org/officeDocument/2006/relationships/image" Target="../media/image13.svg"/><Relationship Id="rId4" Type="http://schemas.openxmlformats.org/officeDocument/2006/relationships/tags" Target="../tags/tag51.xml"/><Relationship Id="rId9" Type="http://schemas.openxmlformats.org/officeDocument/2006/relationships/tags" Target="../tags/tag56.xml"/><Relationship Id="rId1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image" Target="../media/image16.emf"/><Relationship Id="rId2" Type="http://schemas.openxmlformats.org/officeDocument/2006/relationships/tags" Target="../tags/tag5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Relationship Id="rId6" Type="http://schemas.microsoft.com/office/2007/relationships/hdphoto" Target="../media/hdphoto2.wdp"/><Relationship Id="rId5" Type="http://schemas.openxmlformats.org/officeDocument/2006/relationships/image" Target="../media/image20.png"/><Relationship Id="rId4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C0F7E0B-8C4E-43E8-993B-2BBEEE283B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1899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47" name="think-cell Slide" r:id="rId12" imgW="395" imgH="394" progId="TCLayout.ActiveDocument.1">
                  <p:embed/>
                </p:oleObj>
              </mc:Choice>
              <mc:Fallback>
                <p:oleObj name="think-cell Slide" r:id="rId12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7BDEDD1-B397-4EC1-A6BB-A91B84B4BC2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200" b="1" dirty="0" err="1">
              <a:solidFill>
                <a:schemeClr val="tx1"/>
              </a:solidFill>
              <a:latin typeface="Futura Bold" panose="00000900000000000000" pitchFamily="2" charset="0"/>
              <a:ea typeface="Arial Unicode MS"/>
              <a:sym typeface="Futura Bold" panose="00000900000000000000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DD15-D96D-4BFF-8CC9-8D18E5FB54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itiative Update</a:t>
            </a:r>
            <a:endParaRPr lang="en-GB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5A724D0-2EC9-4806-BD4D-8E7BA6A5C4F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08011" y="1909928"/>
            <a:ext cx="3142765" cy="3594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pPr lvl="1">
              <a:spcBef>
                <a:spcPct val="60000"/>
              </a:spcBef>
            </a:pPr>
            <a:r>
              <a:rPr lang="en-GB" dirty="0">
                <a:solidFill>
                  <a:schemeClr val="bg2">
                    <a:lumMod val="10000"/>
                  </a:schemeClr>
                </a:solidFill>
              </a:rPr>
              <a:t>Separated Backlog liquidation and Cycle time reduction into two different initiatives.</a:t>
            </a:r>
          </a:p>
          <a:p>
            <a:pPr lvl="1">
              <a:spcBef>
                <a:spcPct val="60000"/>
              </a:spcBef>
            </a:pPr>
            <a:endParaRPr lang="en-GB" dirty="0">
              <a:solidFill>
                <a:schemeClr val="bg2">
                  <a:lumMod val="10000"/>
                </a:schemeClr>
              </a:solidFill>
            </a:endParaRPr>
          </a:p>
          <a:p>
            <a:pPr lvl="1">
              <a:spcBef>
                <a:spcPct val="60000"/>
              </a:spcBef>
            </a:pPr>
            <a:r>
              <a:rPr lang="en-GB" dirty="0">
                <a:solidFill>
                  <a:schemeClr val="bg2">
                    <a:lumMod val="10000"/>
                  </a:schemeClr>
                </a:solidFill>
              </a:rPr>
              <a:t>Completed the identification and ranking of opportunities for cycle time reduction.</a:t>
            </a:r>
          </a:p>
          <a:p>
            <a:pPr marL="1620" lvl="1" indent="0">
              <a:spcBef>
                <a:spcPct val="60000"/>
              </a:spcBef>
              <a:buNone/>
            </a:pPr>
            <a:endParaRPr lang="en-GB" dirty="0">
              <a:solidFill>
                <a:schemeClr val="bg2">
                  <a:lumMod val="10000"/>
                </a:schemeClr>
              </a:solidFill>
            </a:endParaRPr>
          </a:p>
          <a:p>
            <a:pPr marL="1620" lvl="1" indent="0">
              <a:spcBef>
                <a:spcPct val="60000"/>
              </a:spcBef>
              <a:buNone/>
            </a:pPr>
            <a:endParaRPr lang="en-GB" dirty="0">
              <a:solidFill>
                <a:schemeClr val="bg2">
                  <a:lumMod val="10000"/>
                </a:schemeClr>
              </a:solidFill>
            </a:endParaRPr>
          </a:p>
          <a:p>
            <a:pPr marL="1620" lvl="1" indent="0">
              <a:spcBef>
                <a:spcPct val="60000"/>
              </a:spcBef>
              <a:buNone/>
            </a:pPr>
            <a:endParaRPr lang="en-GB" dirty="0"/>
          </a:p>
          <a:p>
            <a:pPr lvl="1">
              <a:spcBef>
                <a:spcPct val="60000"/>
              </a:spcBef>
            </a:pPr>
            <a:endParaRPr lang="en-GB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2B218D9-0FCC-4D4E-85BA-530A66E916B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022309" y="1909928"/>
            <a:ext cx="3593141" cy="17727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pPr lvl="1">
              <a:spcBef>
                <a:spcPct val="60000"/>
              </a:spcBef>
            </a:pPr>
            <a:r>
              <a:rPr lang="en-GB" dirty="0">
                <a:solidFill>
                  <a:schemeClr val="bg2">
                    <a:lumMod val="10000"/>
                  </a:schemeClr>
                </a:solidFill>
              </a:rPr>
              <a:t>Secure Sponsor and LT alignment and support for Implementation plan starting 1st Dec 2020</a:t>
            </a:r>
          </a:p>
          <a:p>
            <a:pPr lvl="1">
              <a:spcBef>
                <a:spcPct val="60000"/>
              </a:spcBef>
            </a:pPr>
            <a:r>
              <a:rPr lang="en-GB" dirty="0">
                <a:solidFill>
                  <a:schemeClr val="bg2">
                    <a:lumMod val="10000"/>
                  </a:schemeClr>
                </a:solidFill>
              </a:rPr>
              <a:t>Engagement / alignment with Regulators (DPR and NOSDRA)</a:t>
            </a:r>
          </a:p>
          <a:p>
            <a:pPr lvl="1">
              <a:spcBef>
                <a:spcPct val="60000"/>
              </a:spcBef>
            </a:pPr>
            <a:r>
              <a:rPr lang="en-GB" dirty="0">
                <a:solidFill>
                  <a:schemeClr val="bg2">
                    <a:lumMod val="10000"/>
                  </a:schemeClr>
                </a:solidFill>
              </a:rPr>
              <a:t>Progress Initiative to L2.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0A550CC-4811-4545-95E6-2F26E762C0E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890716" y="1754999"/>
            <a:ext cx="3593141" cy="3908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pPr lvl="1">
              <a:spcBef>
                <a:spcPct val="60000"/>
              </a:spcBef>
            </a:pPr>
            <a:r>
              <a:rPr lang="en-GB" dirty="0">
                <a:solidFill>
                  <a:schemeClr val="bg2">
                    <a:lumMod val="10000"/>
                  </a:schemeClr>
                </a:solidFill>
              </a:rPr>
              <a:t>Contracts</a:t>
            </a:r>
          </a:p>
          <a:p>
            <a:pPr lvl="2">
              <a:spcBef>
                <a:spcPct val="60000"/>
              </a:spcBef>
            </a:pPr>
            <a:r>
              <a:rPr lang="en-GB" sz="1400" dirty="0">
                <a:solidFill>
                  <a:schemeClr val="bg2">
                    <a:lumMod val="10000"/>
                  </a:schemeClr>
                </a:solidFill>
              </a:rPr>
              <a:t>6 months Time extension (31/12/2020 to 30/06/2021) and Ceiling Increase on Existing Execution Mega Contract pending award of new contract</a:t>
            </a:r>
          </a:p>
          <a:p>
            <a:pPr lvl="2">
              <a:spcBef>
                <a:spcPct val="60000"/>
              </a:spcBef>
            </a:pPr>
            <a:r>
              <a:rPr lang="en-GB" sz="1400" dirty="0">
                <a:solidFill>
                  <a:schemeClr val="bg2">
                    <a:lumMod val="10000"/>
                  </a:schemeClr>
                </a:solidFill>
              </a:rPr>
              <a:t>Ceiling increase on existing Consultancy/Lab services Mega Contract to cater for increased scope of work in 2021</a:t>
            </a:r>
          </a:p>
          <a:p>
            <a:pPr lvl="1">
              <a:spcBef>
                <a:spcPct val="60000"/>
              </a:spcBef>
            </a:pPr>
            <a:r>
              <a:rPr lang="en-GB" sz="1400" dirty="0">
                <a:solidFill>
                  <a:schemeClr val="bg2">
                    <a:lumMod val="10000"/>
                  </a:schemeClr>
                </a:solidFill>
              </a:rPr>
              <a:t>New Technology</a:t>
            </a:r>
          </a:p>
          <a:p>
            <a:pPr lvl="2">
              <a:spcBef>
                <a:spcPct val="60000"/>
              </a:spcBef>
            </a:pPr>
            <a:r>
              <a:rPr lang="en-GB" sz="1400" dirty="0">
                <a:solidFill>
                  <a:schemeClr val="bg2">
                    <a:lumMod val="10000"/>
                  </a:schemeClr>
                </a:solidFill>
              </a:rPr>
              <a:t>Support (CAPEX) to acquire new technology for site assessments (geo probes and test kits etc) at circa $500k in 2021</a:t>
            </a:r>
          </a:p>
          <a:p>
            <a:pPr lvl="2">
              <a:spcBef>
                <a:spcPct val="60000"/>
              </a:spcBef>
            </a:pPr>
            <a:endParaRPr lang="en-GB" sz="1400" dirty="0"/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571A0AB5-8C97-432D-8CF3-450D47C18257}"/>
              </a:ext>
            </a:extLst>
          </p:cNvPr>
          <p:cNvGrpSpPr/>
          <p:nvPr/>
        </p:nvGrpSpPr>
        <p:grpSpPr>
          <a:xfrm>
            <a:off x="4022309" y="1166104"/>
            <a:ext cx="3593141" cy="545127"/>
            <a:chOff x="4022309" y="1556629"/>
            <a:chExt cx="3593141" cy="545127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DF95735E-2BB3-448D-A4E0-56BC1484AA84}"/>
                </a:ext>
              </a:extLst>
            </p:cNvPr>
            <p:cNvSpPr txBox="1"/>
            <p:nvPr/>
          </p:nvSpPr>
          <p:spPr>
            <a:xfrm>
              <a:off x="4622813" y="1815074"/>
              <a:ext cx="2244712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lvl="0" indent="0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9pPr>
            </a:lstStyle>
            <a:p>
              <a:r>
                <a:rPr lang="en-GB" b="1" dirty="0">
                  <a:solidFill>
                    <a:srgbClr val="C00000"/>
                  </a:solidFill>
                </a:rPr>
                <a:t>Promise for next week</a:t>
              </a: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6082B941-E71C-4C18-B8A5-6DE3E4A216B8}"/>
                </a:ext>
              </a:extLst>
            </p:cNvPr>
            <p:cNvCxnSpPr>
              <a:cxnSpLocks/>
            </p:cNvCxnSpPr>
            <p:nvPr/>
          </p:nvCxnSpPr>
          <p:spPr>
            <a:xfrm>
              <a:off x="4022309" y="2101756"/>
              <a:ext cx="3593141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6" name="CustomIcon" descr="End">
              <a:extLst>
                <a:ext uri="{FF2B5EF4-FFF2-40B4-BE49-F238E27FC236}">
                  <a16:creationId xmlns:a16="http://schemas.microsoft.com/office/drawing/2014/main" id="{80ADF1B4-8A94-4691-B6B0-35318FFDC796}"/>
                </a:ext>
              </a:extLst>
            </p:cNvPr>
            <p:cNvPicPr>
              <a:picLocks noChangeAspect="1"/>
            </p:cNvPicPr>
            <p:nvPr>
              <p:custDataLst>
                <p:tags r:id="rId10"/>
              </p:custDataLst>
            </p:nvPr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rcRect/>
            <a:stretch/>
          </p:blipFill>
          <p:spPr>
            <a:xfrm>
              <a:off x="4022309" y="1556629"/>
              <a:ext cx="504666" cy="504666"/>
            </a:xfrm>
            <a:prstGeom prst="rect">
              <a:avLst/>
            </a:prstGeom>
          </p:spPr>
        </p:pic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2114C163-29DC-4352-A17A-0E56321DCE90}"/>
              </a:ext>
            </a:extLst>
          </p:cNvPr>
          <p:cNvGrpSpPr/>
          <p:nvPr/>
        </p:nvGrpSpPr>
        <p:grpSpPr>
          <a:xfrm>
            <a:off x="7918068" y="1166104"/>
            <a:ext cx="3737683" cy="545127"/>
            <a:chOff x="7918068" y="1556629"/>
            <a:chExt cx="3737683" cy="545127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EED5A17A-6358-4E8C-B3ED-00EB159DBEC0}"/>
                </a:ext>
              </a:extLst>
            </p:cNvPr>
            <p:cNvSpPr txBox="1"/>
            <p:nvPr/>
          </p:nvSpPr>
          <p:spPr>
            <a:xfrm>
              <a:off x="8518572" y="1815074"/>
              <a:ext cx="3137179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lvl="0" indent="0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9pPr>
            </a:lstStyle>
            <a:p>
              <a:r>
                <a:rPr lang="en-GB" b="1" dirty="0">
                  <a:solidFill>
                    <a:srgbClr val="C00000"/>
                  </a:solidFill>
                </a:rPr>
                <a:t>Support required/Key decisions</a:t>
              </a: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8E08B613-18CA-4BA2-BCFF-AE09CB6DD9F1}"/>
                </a:ext>
              </a:extLst>
            </p:cNvPr>
            <p:cNvCxnSpPr>
              <a:cxnSpLocks/>
            </p:cNvCxnSpPr>
            <p:nvPr/>
          </p:nvCxnSpPr>
          <p:spPr>
            <a:xfrm>
              <a:off x="7918068" y="2101756"/>
              <a:ext cx="3593141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2" name="CustomIcon" descr="Open hand">
              <a:extLst>
                <a:ext uri="{FF2B5EF4-FFF2-40B4-BE49-F238E27FC236}">
                  <a16:creationId xmlns:a16="http://schemas.microsoft.com/office/drawing/2014/main" id="{7E1FA945-F5BF-4BD7-BA7F-727BFC72C085}"/>
                </a:ext>
              </a:extLst>
            </p:cNvPr>
            <p:cNvPicPr>
              <a:picLocks noChangeAspect="1"/>
            </p:cNvPicPr>
            <p:nvPr>
              <p:custDataLst>
                <p:tags r:id="rId9"/>
              </p:custDataLst>
            </p:nvPr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rcRect/>
            <a:stretch/>
          </p:blipFill>
          <p:spPr>
            <a:xfrm>
              <a:off x="7918068" y="1556629"/>
              <a:ext cx="504666" cy="504666"/>
            </a:xfrm>
            <a:prstGeom prst="rect">
              <a:avLst/>
            </a:prstGeom>
          </p:spPr>
        </p:pic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862B4404-FAAC-4E55-9046-76DFFFA61986}"/>
              </a:ext>
            </a:extLst>
          </p:cNvPr>
          <p:cNvGrpSpPr/>
          <p:nvPr/>
        </p:nvGrpSpPr>
        <p:grpSpPr>
          <a:xfrm>
            <a:off x="508011" y="1166104"/>
            <a:ext cx="3142765" cy="545127"/>
            <a:chOff x="508011" y="1556629"/>
            <a:chExt cx="3142765" cy="545127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9E892FA0-EC42-41DF-9A16-1702B64DC70B}"/>
                </a:ext>
              </a:extLst>
            </p:cNvPr>
            <p:cNvSpPr txBox="1"/>
            <p:nvPr/>
          </p:nvSpPr>
          <p:spPr>
            <a:xfrm>
              <a:off x="1108515" y="1815074"/>
              <a:ext cx="1948586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lvl="0" indent="0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9pPr>
            </a:lstStyle>
            <a:p>
              <a:r>
                <a:rPr lang="en-GB" b="1" dirty="0">
                  <a:solidFill>
                    <a:srgbClr val="C00000"/>
                  </a:solidFill>
                </a:rPr>
                <a:t>Last Week</a:t>
              </a: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2C5535C2-C577-466D-8FE0-1C689BB5D369}"/>
                </a:ext>
              </a:extLst>
            </p:cNvPr>
            <p:cNvCxnSpPr/>
            <p:nvPr/>
          </p:nvCxnSpPr>
          <p:spPr>
            <a:xfrm>
              <a:off x="508011" y="2101756"/>
              <a:ext cx="3142765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6" name="CustomIcon" descr="Beginning">
              <a:extLst>
                <a:ext uri="{FF2B5EF4-FFF2-40B4-BE49-F238E27FC236}">
                  <a16:creationId xmlns:a16="http://schemas.microsoft.com/office/drawing/2014/main" id="{791D27C1-85F4-4123-9E08-23EC9E360AB5}"/>
                </a:ext>
              </a:extLst>
            </p:cNvPr>
            <p:cNvPicPr>
              <a:picLocks noChangeAspect="1"/>
            </p:cNvPicPr>
            <p:nvPr>
              <p:custDataLst>
                <p:tags r:id="rId8"/>
              </p:custDataLst>
            </p:nvPr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rcRect/>
            <a:stretch/>
          </p:blipFill>
          <p:spPr>
            <a:xfrm>
              <a:off x="508011" y="1556629"/>
              <a:ext cx="504666" cy="504666"/>
            </a:xfrm>
            <a:prstGeom prst="rect">
              <a:avLst/>
            </a:prstGeom>
          </p:spPr>
        </p:pic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5308884D-6F5C-48A6-8C26-393EF7172D0A}"/>
              </a:ext>
            </a:extLst>
          </p:cNvPr>
          <p:cNvGrpSpPr/>
          <p:nvPr/>
        </p:nvGrpSpPr>
        <p:grpSpPr>
          <a:xfrm>
            <a:off x="3877767" y="5434746"/>
            <a:ext cx="3737683" cy="545127"/>
            <a:chOff x="7918068" y="4843985"/>
            <a:chExt cx="3737683" cy="545127"/>
          </a:xfrm>
        </p:grpSpPr>
        <p:pic>
          <p:nvPicPr>
            <p:cNvPr id="46" name="CustomIcon" descr="Money">
              <a:extLst>
                <a:ext uri="{FF2B5EF4-FFF2-40B4-BE49-F238E27FC236}">
                  <a16:creationId xmlns:a16="http://schemas.microsoft.com/office/drawing/2014/main" id="{40E3224C-E7F2-4C21-A3FC-B27149582EE0}"/>
                </a:ext>
              </a:extLst>
            </p:cNvPr>
            <p:cNvPicPr>
              <a:picLocks/>
            </p:cNvPicPr>
            <p:nvPr>
              <p:custDataLst>
                <p:tags r:id="rId7"/>
              </p:custDataLst>
            </p:nvPr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rcRect/>
            <a:stretch/>
          </p:blipFill>
          <p:spPr>
            <a:xfrm>
              <a:off x="7918068" y="4843985"/>
              <a:ext cx="504666" cy="504666"/>
            </a:xfrm>
            <a:prstGeom prst="rect">
              <a:avLst/>
            </a:prstGeom>
          </p:spPr>
        </p:pic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B1BB8544-6C23-4382-AFE2-936213A42F4C}"/>
                </a:ext>
              </a:extLst>
            </p:cNvPr>
            <p:cNvSpPr txBox="1"/>
            <p:nvPr/>
          </p:nvSpPr>
          <p:spPr>
            <a:xfrm>
              <a:off x="8518572" y="5102430"/>
              <a:ext cx="3137179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lvl="0" indent="0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9pPr>
            </a:lstStyle>
            <a:p>
              <a:r>
                <a:rPr lang="en-GB" sz="1400" b="1" dirty="0">
                  <a:solidFill>
                    <a:srgbClr val="C00000"/>
                  </a:solidFill>
                </a:rPr>
                <a:t>Expected impact (Additional Budget)</a:t>
              </a:r>
            </a:p>
          </p:txBody>
        </p: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75B9784D-29BC-4C40-BA2C-1E5117D8656B}"/>
                </a:ext>
              </a:extLst>
            </p:cNvPr>
            <p:cNvCxnSpPr>
              <a:cxnSpLocks/>
            </p:cNvCxnSpPr>
            <p:nvPr/>
          </p:nvCxnSpPr>
          <p:spPr>
            <a:xfrm>
              <a:off x="7918068" y="5389112"/>
              <a:ext cx="3593141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C97123D9-FF6F-4DB6-AB01-AD841FE8CDA8}"/>
              </a:ext>
            </a:extLst>
          </p:cNvPr>
          <p:cNvGrpSpPr/>
          <p:nvPr/>
        </p:nvGrpSpPr>
        <p:grpSpPr>
          <a:xfrm>
            <a:off x="3877767" y="6011284"/>
            <a:ext cx="3593141" cy="723307"/>
            <a:chOff x="7918068" y="5568287"/>
            <a:chExt cx="3778632" cy="723307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32A37EF-6772-441F-B4BB-4074CE3EE38F}"/>
                </a:ext>
              </a:extLst>
            </p:cNvPr>
            <p:cNvSpPr/>
            <p:nvPr/>
          </p:nvSpPr>
          <p:spPr>
            <a:xfrm>
              <a:off x="7918068" y="5568287"/>
              <a:ext cx="1860553" cy="723307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2020: Nil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9D369420-C37F-408B-81AE-E97953581D2D}"/>
                </a:ext>
              </a:extLst>
            </p:cNvPr>
            <p:cNvSpPr/>
            <p:nvPr/>
          </p:nvSpPr>
          <p:spPr>
            <a:xfrm>
              <a:off x="9836147" y="5568287"/>
              <a:ext cx="1860553" cy="723307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2021: ~</a:t>
              </a:r>
              <a:r>
                <a:rPr lang="en-US" sz="1600" dirty="0">
                  <a:solidFill>
                    <a:schemeClr val="bg1"/>
                  </a:solidFill>
                </a:rPr>
                <a:t>$</a:t>
              </a:r>
              <a:r>
                <a:rPr lang="en-US" sz="1600" b="1" dirty="0">
                  <a:solidFill>
                    <a:schemeClr val="bg1"/>
                  </a:solidFill>
                </a:rPr>
                <a:t>0.5m (Capex)</a:t>
              </a:r>
              <a:endParaRPr lang="en-GB" sz="16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51" name="1. On-page tracker">
            <a:extLst>
              <a:ext uri="{FF2B5EF4-FFF2-40B4-BE49-F238E27FC236}">
                <a16:creationId xmlns:a16="http://schemas.microsoft.com/office/drawing/2014/main" id="{26DFC6FF-09FC-4C1C-B0B7-CCFBF1EE34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8011" y="290022"/>
            <a:ext cx="727603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rgbClr val="808080"/>
                </a:solidFill>
                <a:ea typeface="+mj-ea"/>
              </a:rPr>
              <a:t>#I-0095405: </a:t>
            </a:r>
            <a:r>
              <a:rPr lang="en-US" sz="1200" dirty="0">
                <a:latin typeface="ShellMedium" panose="00000600000000000000" pitchFamily="50" charset="0"/>
              </a:rPr>
              <a:t>Reduce SPDC Spill Remediation Cycle Time from avg.386 to less than 200days by Q4 2021</a:t>
            </a:r>
            <a:endParaRPr lang="en-US" sz="1200" baseline="0" noProof="0" dirty="0">
              <a:solidFill>
                <a:srgbClr val="808080"/>
              </a:solidFill>
              <a:latin typeface="+mn-lt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4457882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11">
            <a:extLst>
              <a:ext uri="{FF2B5EF4-FFF2-40B4-BE49-F238E27FC236}">
                <a16:creationId xmlns:a16="http://schemas.microsoft.com/office/drawing/2014/main" id="{E14E9A46-2E15-48FD-A482-9B30FF905A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98000" y="609600"/>
            <a:ext cx="8128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75" tIns="46038" rIns="92075" bIns="46038"/>
          <a:lstStyle>
            <a:lvl1pPr>
              <a:lnSpc>
                <a:spcPct val="120000"/>
              </a:lnSpc>
              <a:spcAft>
                <a:spcPts val="600"/>
              </a:spcAft>
              <a:buClr>
                <a:schemeClr val="accent2"/>
              </a:buClr>
              <a:buSzPct val="85000"/>
              <a:buFont typeface="Wingdings" panose="05000000000000000000" pitchFamily="2" charset="2"/>
              <a:defRPr sz="2000">
                <a:solidFill>
                  <a:schemeClr val="tx1"/>
                </a:solidFill>
                <a:latin typeface="Futura Medium" panose="00000400000000000000" pitchFamily="2" charset="0"/>
              </a:defRPr>
            </a:lvl1pPr>
            <a:lvl2pPr marL="742950" indent="-285750">
              <a:lnSpc>
                <a:spcPct val="120000"/>
              </a:lnSpc>
              <a:spcAft>
                <a:spcPts val="600"/>
              </a:spcAft>
              <a:buClr>
                <a:schemeClr val="accent2"/>
              </a:buClr>
              <a:buSzPct val="85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Futura Medium" panose="00000400000000000000" pitchFamily="2" charset="0"/>
              </a:defRPr>
            </a:lvl2pPr>
            <a:lvl3pPr marL="1143000" indent="-22860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"/>
              <a:defRPr sz="2000">
                <a:solidFill>
                  <a:schemeClr val="tx1"/>
                </a:solidFill>
                <a:latin typeface="Futura Medium" panose="00000400000000000000" pitchFamily="2" charset="0"/>
              </a:defRPr>
            </a:lvl3pPr>
            <a:lvl4pPr marL="1600200" indent="-22860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"/>
              <a:defRPr sz="1600">
                <a:solidFill>
                  <a:schemeClr val="tx1"/>
                </a:solidFill>
                <a:latin typeface="Futura Medium" panose="00000400000000000000" pitchFamily="2" charset="0"/>
              </a:defRPr>
            </a:lvl4pPr>
            <a:lvl5pPr marL="2057400" indent="-22860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"/>
              <a:defRPr sz="1400">
                <a:solidFill>
                  <a:schemeClr val="tx1"/>
                </a:solidFill>
                <a:latin typeface="Futura Medium" panose="00000400000000000000" pitchFamily="2" charset="0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"/>
              <a:defRPr sz="1400">
                <a:solidFill>
                  <a:schemeClr val="tx1"/>
                </a:solidFill>
                <a:latin typeface="Futura Medium" panose="00000400000000000000" pitchFamily="2" charset="0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"/>
              <a:defRPr sz="1400">
                <a:solidFill>
                  <a:schemeClr val="tx1"/>
                </a:solidFill>
                <a:latin typeface="Futura Medium" panose="00000400000000000000" pitchFamily="2" charset="0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"/>
              <a:defRPr sz="1400">
                <a:solidFill>
                  <a:schemeClr val="tx1"/>
                </a:solidFill>
                <a:latin typeface="Futura Medium" panose="00000400000000000000" pitchFamily="2" charset="0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"/>
              <a:defRPr sz="1400">
                <a:solidFill>
                  <a:schemeClr val="tx1"/>
                </a:solidFill>
                <a:latin typeface="Futura Medium" panose="00000400000000000000" pitchFamily="2" charset="0"/>
              </a:defRPr>
            </a:lvl9pPr>
          </a:lstStyle>
          <a:p>
            <a:pPr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</a:pPr>
            <a:endParaRPr lang="en-GB" altLang="en-US" sz="4400">
              <a:solidFill>
                <a:srgbClr val="999999"/>
              </a:solidFill>
              <a:cs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CEB04950-79C0-4E68-AEC4-5E7A8BE49A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4113" y="295275"/>
            <a:ext cx="7700962" cy="419100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GB" dirty="0"/>
              <a:t>Implementation Plan</a:t>
            </a:r>
          </a:p>
        </p:txBody>
      </p:sp>
      <p:sp>
        <p:nvSpPr>
          <p:cNvPr id="10244" name="Slide Number Placeholder 13">
            <a:extLst>
              <a:ext uri="{FF2B5EF4-FFF2-40B4-BE49-F238E27FC236}">
                <a16:creationId xmlns:a16="http://schemas.microsoft.com/office/drawing/2014/main" id="{3110DD21-9348-42B5-BD2D-3496F44A0B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120000"/>
              </a:lnSpc>
              <a:spcAft>
                <a:spcPts val="600"/>
              </a:spcAft>
              <a:buClr>
                <a:schemeClr val="accent2"/>
              </a:buClr>
              <a:buSzPct val="85000"/>
              <a:buFont typeface="Wingdings" panose="05000000000000000000" pitchFamily="2" charset="2"/>
              <a:defRPr sz="2000">
                <a:solidFill>
                  <a:schemeClr val="tx1"/>
                </a:solidFill>
                <a:latin typeface="Futura Medium" panose="00000400000000000000" pitchFamily="2" charset="0"/>
              </a:defRPr>
            </a:lvl1pPr>
            <a:lvl2pPr marL="742950" indent="-285750">
              <a:lnSpc>
                <a:spcPct val="120000"/>
              </a:lnSpc>
              <a:spcAft>
                <a:spcPts val="600"/>
              </a:spcAft>
              <a:buClr>
                <a:schemeClr val="accent2"/>
              </a:buClr>
              <a:buSzPct val="85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Futura Medium" panose="00000400000000000000" pitchFamily="2" charset="0"/>
              </a:defRPr>
            </a:lvl2pPr>
            <a:lvl3pPr marL="1143000" indent="-22860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"/>
              <a:defRPr sz="2000">
                <a:solidFill>
                  <a:schemeClr val="tx1"/>
                </a:solidFill>
                <a:latin typeface="Futura Medium" panose="00000400000000000000" pitchFamily="2" charset="0"/>
              </a:defRPr>
            </a:lvl3pPr>
            <a:lvl4pPr marL="1600200" indent="-22860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"/>
              <a:defRPr sz="1600">
                <a:solidFill>
                  <a:schemeClr val="tx1"/>
                </a:solidFill>
                <a:latin typeface="Futura Medium" panose="00000400000000000000" pitchFamily="2" charset="0"/>
              </a:defRPr>
            </a:lvl4pPr>
            <a:lvl5pPr marL="2057400" indent="-22860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"/>
              <a:defRPr sz="1400">
                <a:solidFill>
                  <a:schemeClr val="tx1"/>
                </a:solidFill>
                <a:latin typeface="Futura Medium" panose="00000400000000000000" pitchFamily="2" charset="0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"/>
              <a:defRPr sz="1400">
                <a:solidFill>
                  <a:schemeClr val="tx1"/>
                </a:solidFill>
                <a:latin typeface="Futura Medium" panose="00000400000000000000" pitchFamily="2" charset="0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"/>
              <a:defRPr sz="1400">
                <a:solidFill>
                  <a:schemeClr val="tx1"/>
                </a:solidFill>
                <a:latin typeface="Futura Medium" panose="00000400000000000000" pitchFamily="2" charset="0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"/>
              <a:defRPr sz="1400">
                <a:solidFill>
                  <a:schemeClr val="tx1"/>
                </a:solidFill>
                <a:latin typeface="Futura Medium" panose="00000400000000000000" pitchFamily="2" charset="0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"/>
              <a:defRPr sz="1400">
                <a:solidFill>
                  <a:schemeClr val="tx1"/>
                </a:solidFill>
                <a:latin typeface="Futura Medium" panose="00000400000000000000" pitchFamily="2" charset="0"/>
              </a:defRPr>
            </a:lvl9pPr>
          </a:lstStyle>
          <a:p>
            <a:pPr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</a:pPr>
            <a:fld id="{2DD093E2-12F6-4DE2-8A3E-42E8DD789FDD}" type="slidenum">
              <a:rPr lang="en-GB" altLang="en-US" sz="800">
                <a:solidFill>
                  <a:srgbClr val="595959"/>
                </a:solidFill>
                <a:cs typeface="Arial" panose="020B0604020202020204" pitchFamily="34" charset="0"/>
              </a:rPr>
              <a:pPr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t>2</a:t>
            </a:fld>
            <a:endParaRPr lang="en-GB" altLang="en-US" sz="800">
              <a:solidFill>
                <a:srgbClr val="595959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BCD638C-258C-459C-87CC-E7336E3B44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547402"/>
              </p:ext>
            </p:extLst>
          </p:nvPr>
        </p:nvGraphicFramePr>
        <p:xfrm>
          <a:off x="161926" y="800100"/>
          <a:ext cx="11610973" cy="58308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06754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06700">
                  <a:extLst>
                    <a:ext uri="{9D8B030D-6E8A-4147-A177-3AD203B41FA5}">
                      <a16:colId xmlns:a16="http://schemas.microsoft.com/office/drawing/2014/main" val="4258250222"/>
                    </a:ext>
                  </a:extLst>
                </a:gridCol>
                <a:gridCol w="13590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7766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861734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400" dirty="0">
                          <a:solidFill>
                            <a:srgbClr val="DD1D21"/>
                          </a:solidFill>
                        </a:rPr>
                        <a:t>Action/Milestone</a:t>
                      </a:r>
                      <a:endParaRPr lang="en-GB" sz="1400" dirty="0">
                        <a:solidFill>
                          <a:srgbClr val="DD1D21"/>
                        </a:solidFill>
                      </a:endParaRPr>
                    </a:p>
                  </a:txBody>
                  <a:tcPr marL="18286" marR="18286" marT="9147" marB="9147" anchor="ctr">
                    <a:solidFill>
                      <a:srgbClr val="FBCE0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GB" sz="1400" dirty="0">
                          <a:solidFill>
                            <a:srgbClr val="DD1D21"/>
                          </a:solidFill>
                        </a:rPr>
                        <a:t>Expected Cycle Time Reduction (days)</a:t>
                      </a:r>
                    </a:p>
                  </a:txBody>
                  <a:tcPr marL="18286" marR="18286" marT="9147" marB="9147" anchor="ctr">
                    <a:solidFill>
                      <a:srgbClr val="FBCE0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GB" sz="1400" dirty="0">
                          <a:solidFill>
                            <a:srgbClr val="DD1D21"/>
                          </a:solidFill>
                        </a:rPr>
                        <a:t>Who</a:t>
                      </a:r>
                    </a:p>
                  </a:txBody>
                  <a:tcPr marL="18286" marR="18286" marT="9147" marB="9147" anchor="ctr">
                    <a:solidFill>
                      <a:srgbClr val="FBCE0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400" dirty="0">
                          <a:solidFill>
                            <a:srgbClr val="DD1D21"/>
                          </a:solidFill>
                        </a:rPr>
                        <a:t>When</a:t>
                      </a:r>
                      <a:endParaRPr lang="en-GB" sz="1400" dirty="0">
                        <a:solidFill>
                          <a:srgbClr val="DD1D21"/>
                        </a:solidFill>
                      </a:endParaRPr>
                    </a:p>
                  </a:txBody>
                  <a:tcPr marL="18286" marR="18286" marT="9147" marB="9147" anchor="ctr">
                    <a:solidFill>
                      <a:srgbClr val="FBCE0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404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altLang="en-US" sz="1200" dirty="0">
                          <a:solidFill>
                            <a:srgbClr val="595959"/>
                          </a:solidFill>
                          <a:cs typeface="Arial" pitchFamily="34" charset="0"/>
                        </a:rPr>
                        <a:t>1. Establish SOP to implement PCI for small volume &lt;= 5bbls </a:t>
                      </a:r>
                    </a:p>
                  </a:txBody>
                  <a:tcPr marL="18286" marR="18286" marT="9147" marB="914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10 - 30</a:t>
                      </a:r>
                    </a:p>
                  </a:txBody>
                  <a:tcPr marL="18286" marR="18286" marT="9147" marB="9147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dirty="0"/>
                        <a:t>Ivan Okoye</a:t>
                      </a:r>
                    </a:p>
                  </a:txBody>
                  <a:tcPr marL="18286" marR="18286" marT="9147" marB="9147" anchor="ctr"/>
                </a:tc>
                <a:tc>
                  <a:txBody>
                    <a:bodyPr/>
                    <a:lstStyle/>
                    <a:p>
                      <a:r>
                        <a:rPr lang="en-GB" sz="1200"/>
                        <a:t>  15/01/2021</a:t>
                      </a:r>
                      <a:endParaRPr lang="en-GB" sz="1200" dirty="0"/>
                    </a:p>
                  </a:txBody>
                  <a:tcPr marL="18286" marR="18286" marT="9147" marB="9147" anchor="ctr"/>
                </a:tc>
                <a:extLst>
                  <a:ext uri="{0D108BD9-81ED-4DB2-BD59-A6C34878D82A}">
                    <a16:rowId xmlns:a16="http://schemas.microsoft.com/office/drawing/2014/main" val="2394489980"/>
                  </a:ext>
                </a:extLst>
              </a:tr>
              <a:tr h="398989"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Font typeface="+mj-lt"/>
                        <a:buNone/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. Create a workflow process for phase-2-phase handover of sites </a:t>
                      </a:r>
                    </a:p>
                  </a:txBody>
                  <a:tcPr marL="18286" marR="18286" marT="9147" marB="914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 3 - 7</a:t>
                      </a:r>
                    </a:p>
                  </a:txBody>
                  <a:tcPr marL="18286" marR="18286" marT="9147" marB="9147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dirty="0"/>
                        <a:t>Usman Anibasa</a:t>
                      </a:r>
                    </a:p>
                  </a:txBody>
                  <a:tcPr marL="18286" marR="18286" marT="9147" marB="9147" anchor="ctr"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 11/12/2020</a:t>
                      </a:r>
                    </a:p>
                  </a:txBody>
                  <a:tcPr marL="18286" marR="18286" marT="9147" marB="9147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8989"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Font typeface="+mj-lt"/>
                        <a:buNone/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. Merge the review and assurance processes of Phase 1 reports and RAP together </a:t>
                      </a:r>
                    </a:p>
                  </a:txBody>
                  <a:tcPr marL="18286" marR="18286" marT="9147" marB="914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 15 - 30</a:t>
                      </a:r>
                    </a:p>
                  </a:txBody>
                  <a:tcPr marL="18286" marR="18286" marT="9147" marB="9147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dirty="0"/>
                        <a:t>Ivan Okoye</a:t>
                      </a:r>
                    </a:p>
                  </a:txBody>
                  <a:tcPr marL="18286" marR="18286" marT="9147" marB="9147" anchor="ctr"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 1/12/2020</a:t>
                      </a:r>
                    </a:p>
                  </a:txBody>
                  <a:tcPr marL="18286" marR="18286" marT="9147" marB="9147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37040">
                <a:tc>
                  <a:txBody>
                    <a:bodyPr/>
                    <a:lstStyle/>
                    <a:p>
                      <a:pPr marL="0" lvl="0" indent="0" algn="l">
                        <a:buFont typeface="+mj-lt"/>
                        <a:buNone/>
                      </a:pPr>
                      <a:r>
                        <a:rPr lang="en-GB" sz="1200" dirty="0"/>
                        <a:t>4. Explore and deploy  technology to improve PCI/Assessment and QAQC activities e.g. use of Geo-Probe and Field Test Kits</a:t>
                      </a:r>
                    </a:p>
                  </a:txBody>
                  <a:tcPr marL="18286" marR="18286" marT="9147" marB="914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3 - 14</a:t>
                      </a:r>
                    </a:p>
                  </a:txBody>
                  <a:tcPr marL="18286" marR="18286" marT="9147" marB="9147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dirty="0"/>
                        <a:t>Sam Campbell</a:t>
                      </a:r>
                    </a:p>
                  </a:txBody>
                  <a:tcPr marL="18286" marR="18286" marT="9147" marB="9147" anchor="ctr"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  31/03/2021</a:t>
                      </a:r>
                    </a:p>
                  </a:txBody>
                  <a:tcPr marL="18286" marR="18286" marT="9147" marB="9147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98483">
                <a:tc>
                  <a:txBody>
                    <a:bodyPr/>
                    <a:lstStyle/>
                    <a:p>
                      <a:pPr marL="0" lvl="0" indent="0" algn="l">
                        <a:buFont typeface="+mj-lt"/>
                        <a:buNone/>
                      </a:pPr>
                      <a:r>
                        <a:rPr lang="en-GB" sz="1200" dirty="0"/>
                        <a:t>5. Prepare CTS dashboard to show compliance and share at weekly OSRR LT and monthly ER LT meeting</a:t>
                      </a:r>
                    </a:p>
                  </a:txBody>
                  <a:tcPr marL="18286" marR="18286" marT="9147" marB="914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7 - 14</a:t>
                      </a:r>
                    </a:p>
                  </a:txBody>
                  <a:tcPr marL="18286" marR="18286" marT="9147" marB="9147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dirty="0"/>
                        <a:t>Sunkanmi Bisiriyu</a:t>
                      </a:r>
                    </a:p>
                  </a:txBody>
                  <a:tcPr marL="18286" marR="18286" marT="9147" marB="9147" anchor="ctr"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 4/12/2020</a:t>
                      </a:r>
                    </a:p>
                  </a:txBody>
                  <a:tcPr marL="18286" marR="18286" marT="9147" marB="9147" anchor="ctr"/>
                </a:tc>
                <a:extLst>
                  <a:ext uri="{0D108BD9-81ED-4DB2-BD59-A6C34878D82A}">
                    <a16:rowId xmlns:a16="http://schemas.microsoft.com/office/drawing/2014/main" val="4087265191"/>
                  </a:ext>
                </a:extLst>
              </a:tr>
              <a:tr h="50268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. </a:t>
                      </a:r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prove competence level of remediation contractors in planning and control system.</a:t>
                      </a:r>
                      <a:endParaRPr lang="en-US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6" marR="18286" marT="9147" marB="9147" anchor="ctr"/>
                </a:tc>
                <a:tc>
                  <a:txBody>
                    <a:bodyPr/>
                    <a:lstStyle/>
                    <a:p>
                      <a:pPr marL="0" lvl="0" indent="0" algn="ctr" defTabSz="914400" rtl="0" eaLnBrk="1" latinLnBrk="0" hangingPunct="1">
                        <a:buFont typeface="+mj-lt"/>
                        <a:buNone/>
                      </a:pPr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 - 14</a:t>
                      </a:r>
                    </a:p>
                  </a:txBody>
                  <a:tcPr marL="18286" marR="18286" marT="9147" marB="9147" anchor="ctr"/>
                </a:tc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buFont typeface="+mj-lt"/>
                        <a:buNone/>
                      </a:pPr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unkanmi Bisiriyu</a:t>
                      </a:r>
                    </a:p>
                  </a:txBody>
                  <a:tcPr marL="18286" marR="18286" marT="9147" marB="9147" anchor="ctr"/>
                </a:tc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buFont typeface="+mj-lt"/>
                        <a:buNone/>
                      </a:pPr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31/01/2021</a:t>
                      </a:r>
                    </a:p>
                  </a:txBody>
                  <a:tcPr marL="18286" marR="18286" marT="9147" marB="9147" anchor="ctr"/>
                </a:tc>
                <a:extLst>
                  <a:ext uri="{0D108BD9-81ED-4DB2-BD59-A6C34878D82A}">
                    <a16:rowId xmlns:a16="http://schemas.microsoft.com/office/drawing/2014/main" val="829676599"/>
                  </a:ext>
                </a:extLst>
              </a:tr>
              <a:tr h="502715"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buFont typeface="+mj-lt"/>
                        <a:buNone/>
                      </a:pPr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. Provide dedicated resources to enable prompt commencement of site certification immediately on completion of remediation</a:t>
                      </a:r>
                    </a:p>
                  </a:txBody>
                  <a:tcPr marL="18286" marR="18286" marT="9147" marB="9147" anchor="ctr"/>
                </a:tc>
                <a:tc>
                  <a:txBody>
                    <a:bodyPr/>
                    <a:lstStyle/>
                    <a:p>
                      <a:pPr marL="0" lvl="0" indent="0" algn="ctr" defTabSz="914400" rtl="0" eaLnBrk="1" latinLnBrk="0" hangingPunct="1">
                        <a:buFont typeface="+mj-lt"/>
                        <a:buNone/>
                      </a:pPr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30 - 60 </a:t>
                      </a:r>
                    </a:p>
                  </a:txBody>
                  <a:tcPr marL="18286" marR="18286" marT="9147" marB="9147" anchor="ctr"/>
                </a:tc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buFont typeface="+mj-lt"/>
                        <a:buNone/>
                      </a:pPr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ankyes Hirse</a:t>
                      </a:r>
                    </a:p>
                  </a:txBody>
                  <a:tcPr marL="18286" marR="18286" marT="9147" marB="9147" anchor="ctr"/>
                </a:tc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buFont typeface="+mj-lt"/>
                        <a:buNone/>
                      </a:pPr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01/12/2020</a:t>
                      </a:r>
                    </a:p>
                  </a:txBody>
                  <a:tcPr marL="18286" marR="18286" marT="9147" marB="9147" anchor="ctr"/>
                </a:tc>
                <a:extLst>
                  <a:ext uri="{0D108BD9-81ED-4DB2-BD59-A6C34878D82A}">
                    <a16:rowId xmlns:a16="http://schemas.microsoft.com/office/drawing/2014/main" val="1577141793"/>
                  </a:ext>
                </a:extLst>
              </a:tr>
              <a:tr h="498736"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buFont typeface="+mj-lt"/>
                        <a:buNone/>
                      </a:pPr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. Secure Regular support (DPR and NOSDRA) and Implement risk based screening levels (RBSL) </a:t>
                      </a:r>
                    </a:p>
                  </a:txBody>
                  <a:tcPr marL="18286" marR="18286" marT="9147" marB="9147" anchor="ctr"/>
                </a:tc>
                <a:tc>
                  <a:txBody>
                    <a:bodyPr/>
                    <a:lstStyle/>
                    <a:p>
                      <a:pPr marL="0" lvl="0" indent="0" algn="ctr" defTabSz="914400" rtl="0" eaLnBrk="1" latinLnBrk="0" hangingPunct="1">
                        <a:buFont typeface="+mj-lt"/>
                        <a:buNone/>
                      </a:pPr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5 - 40</a:t>
                      </a:r>
                    </a:p>
                  </a:txBody>
                  <a:tcPr marL="18286" marR="18286" marT="9147" marB="9147" anchor="ctr"/>
                </a:tc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buFont typeface="+mj-lt"/>
                        <a:buNone/>
                      </a:pPr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am Campbell</a:t>
                      </a:r>
                    </a:p>
                  </a:txBody>
                  <a:tcPr marL="18286" marR="18286" marT="9147" marB="9147" anchor="ctr"/>
                </a:tc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buFont typeface="+mj-lt"/>
                        <a:buNone/>
                      </a:pPr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31/01/2021</a:t>
                      </a:r>
                    </a:p>
                  </a:txBody>
                  <a:tcPr marL="18286" marR="18286" marT="9147" marB="9147" anchor="ctr"/>
                </a:tc>
                <a:extLst>
                  <a:ext uri="{0D108BD9-81ED-4DB2-BD59-A6C34878D82A}">
                    <a16:rowId xmlns:a16="http://schemas.microsoft.com/office/drawing/2014/main" val="3632109328"/>
                  </a:ext>
                </a:extLst>
              </a:tr>
              <a:tr h="498736"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buFont typeface="+mj-lt"/>
                        <a:buNone/>
                      </a:pPr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. Establish SOP for improved QA/QC and verification process</a:t>
                      </a:r>
                    </a:p>
                  </a:txBody>
                  <a:tcPr marL="18286" marR="18286" marT="9147" marB="9147" anchor="ctr"/>
                </a:tc>
                <a:tc>
                  <a:txBody>
                    <a:bodyPr/>
                    <a:lstStyle/>
                    <a:p>
                      <a:pPr marL="0" lvl="0" indent="0" algn="ctr" defTabSz="914400" rtl="0" eaLnBrk="1" latinLnBrk="0" hangingPunct="1">
                        <a:buFont typeface="+mj-lt"/>
                        <a:buNone/>
                      </a:pPr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5 - 40</a:t>
                      </a:r>
                    </a:p>
                  </a:txBody>
                  <a:tcPr marL="18286" marR="18286" marT="9147" marB="9147" anchor="ctr"/>
                </a:tc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buFont typeface="+mj-lt"/>
                        <a:buNone/>
                      </a:pPr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am Campbell</a:t>
                      </a:r>
                    </a:p>
                  </a:txBody>
                  <a:tcPr marL="18286" marR="18286" marT="9147" marB="9147" anchor="ctr"/>
                </a:tc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buFont typeface="+mj-lt"/>
                        <a:buNone/>
                      </a:pPr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4/12/2020</a:t>
                      </a:r>
                    </a:p>
                  </a:txBody>
                  <a:tcPr marL="18286" marR="18286" marT="9147" marB="9147" anchor="ctr"/>
                </a:tc>
                <a:extLst>
                  <a:ext uri="{0D108BD9-81ED-4DB2-BD59-A6C34878D82A}">
                    <a16:rowId xmlns:a16="http://schemas.microsoft.com/office/drawing/2014/main" val="1525519457"/>
                  </a:ext>
                </a:extLst>
              </a:tr>
              <a:tr h="498736"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buFont typeface="+mj-lt"/>
                        <a:buNone/>
                      </a:pPr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0. Secure Regulator support and SOP for use of Nutrients to aid Remediation Process (RENA)</a:t>
                      </a:r>
                    </a:p>
                  </a:txBody>
                  <a:tcPr marL="18286" marR="18286" marT="9147" marB="9147" anchor="ctr"/>
                </a:tc>
                <a:tc>
                  <a:txBody>
                    <a:bodyPr/>
                    <a:lstStyle/>
                    <a:p>
                      <a:pPr marL="0" lvl="0" indent="0" algn="ctr" defTabSz="914400" rtl="0" eaLnBrk="1" latinLnBrk="0" hangingPunct="1">
                        <a:buFont typeface="+mj-lt"/>
                        <a:buNone/>
                      </a:pPr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5 - 30</a:t>
                      </a:r>
                    </a:p>
                  </a:txBody>
                  <a:tcPr marL="18286" marR="18286" marT="9147" marB="9147" anchor="ctr"/>
                </a:tc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buFont typeface="+mj-lt"/>
                        <a:buNone/>
                      </a:pPr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ruce</a:t>
                      </a:r>
                    </a:p>
                  </a:txBody>
                  <a:tcPr marL="18286" marR="18286" marT="9147" marB="9147" anchor="ctr"/>
                </a:tc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buFont typeface="+mj-lt"/>
                        <a:buNone/>
                      </a:pPr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1/01/2021</a:t>
                      </a:r>
                    </a:p>
                  </a:txBody>
                  <a:tcPr marL="18286" marR="18286" marT="9147" marB="9147" anchor="ctr"/>
                </a:tc>
                <a:extLst>
                  <a:ext uri="{0D108BD9-81ED-4DB2-BD59-A6C34878D82A}">
                    <a16:rowId xmlns:a16="http://schemas.microsoft.com/office/drawing/2014/main" val="972863744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C0F7E0B-8C4E-43E8-993B-2BBEEE283B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3" name="think-cell Slide" r:id="rId12" imgW="395" imgH="394" progId="TCLayout.ActiveDocument.1">
                  <p:embed/>
                </p:oleObj>
              </mc:Choice>
              <mc:Fallback>
                <p:oleObj name="think-cell Slide" r:id="rId12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C0F7E0B-8C4E-43E8-993B-2BBEEE283B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7BDEDD1-B397-4EC1-A6BB-A91B84B4BC2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200" b="1" dirty="0" err="1">
              <a:solidFill>
                <a:schemeClr val="tx1"/>
              </a:solidFill>
              <a:latin typeface="Futura Bold" panose="00000900000000000000" pitchFamily="2" charset="0"/>
              <a:ea typeface="Arial Unicode MS"/>
              <a:sym typeface="Futura Bold" panose="00000900000000000000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DD15-D96D-4BFF-8CC9-8D18E5FB54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itiative Update</a:t>
            </a:r>
            <a:endParaRPr lang="en-GB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5A724D0-2EC9-4806-BD4D-8E7BA6A5C4F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08011" y="1909928"/>
            <a:ext cx="3142765" cy="36933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pPr lvl="1">
              <a:spcBef>
                <a:spcPct val="60000"/>
              </a:spcBef>
            </a:pPr>
            <a:r>
              <a:rPr lang="en-GB" dirty="0">
                <a:solidFill>
                  <a:schemeClr val="bg2">
                    <a:lumMod val="10000"/>
                  </a:schemeClr>
                </a:solidFill>
              </a:rPr>
              <a:t>Created initiative in Fit-4 (I-0096259)</a:t>
            </a:r>
          </a:p>
          <a:p>
            <a:pPr lvl="1">
              <a:spcBef>
                <a:spcPct val="60000"/>
              </a:spcBef>
            </a:pPr>
            <a:r>
              <a:rPr lang="en-GB" dirty="0">
                <a:solidFill>
                  <a:schemeClr val="bg2">
                    <a:lumMod val="10000"/>
                  </a:schemeClr>
                </a:solidFill>
              </a:rPr>
              <a:t>Established site prioritisation process for liquidation backlog implementation</a:t>
            </a:r>
          </a:p>
          <a:p>
            <a:pPr lvl="1">
              <a:spcBef>
                <a:spcPct val="60000"/>
              </a:spcBef>
            </a:pPr>
            <a:r>
              <a:rPr lang="en-GB" dirty="0">
                <a:solidFill>
                  <a:schemeClr val="bg2">
                    <a:lumMod val="10000"/>
                  </a:schemeClr>
                </a:solidFill>
              </a:rPr>
              <a:t>Established the clear resourced implementation plan to be active at a maximum of 60 sites starting 1</a:t>
            </a:r>
            <a:r>
              <a:rPr lang="en-GB" baseline="30000" dirty="0">
                <a:solidFill>
                  <a:schemeClr val="bg2">
                    <a:lumMod val="10000"/>
                  </a:schemeClr>
                </a:solidFill>
              </a:rPr>
              <a:t>st</a:t>
            </a:r>
            <a:r>
              <a:rPr lang="en-GB" dirty="0">
                <a:solidFill>
                  <a:schemeClr val="bg2">
                    <a:lumMod val="10000"/>
                  </a:schemeClr>
                </a:solidFill>
              </a:rPr>
              <a:t> December 2020</a:t>
            </a:r>
          </a:p>
          <a:p>
            <a:pPr marL="1620" lvl="1" indent="0">
              <a:spcBef>
                <a:spcPct val="60000"/>
              </a:spcBef>
              <a:buNone/>
            </a:pPr>
            <a:endParaRPr lang="en-GB" dirty="0">
              <a:solidFill>
                <a:schemeClr val="bg2">
                  <a:lumMod val="10000"/>
                </a:schemeClr>
              </a:solidFill>
            </a:endParaRPr>
          </a:p>
          <a:p>
            <a:pPr marL="1620" lvl="1" indent="0">
              <a:spcBef>
                <a:spcPct val="60000"/>
              </a:spcBef>
              <a:buNone/>
            </a:pPr>
            <a:endParaRPr lang="en-GB" dirty="0"/>
          </a:p>
          <a:p>
            <a:pPr lvl="1">
              <a:spcBef>
                <a:spcPct val="60000"/>
              </a:spcBef>
            </a:pPr>
            <a:endParaRPr lang="en-GB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2B218D9-0FCC-4D4E-85BA-530A66E916B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022309" y="1909928"/>
            <a:ext cx="3593141" cy="2019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pPr lvl="1">
              <a:spcBef>
                <a:spcPct val="60000"/>
              </a:spcBef>
            </a:pPr>
            <a:r>
              <a:rPr lang="en-GB" dirty="0">
                <a:solidFill>
                  <a:schemeClr val="bg2">
                    <a:lumMod val="10000"/>
                  </a:schemeClr>
                </a:solidFill>
              </a:rPr>
              <a:t>Secure Sponsor and LT alignment and support for Implementation plan starting 1st Dec 2020</a:t>
            </a:r>
          </a:p>
          <a:p>
            <a:pPr lvl="1">
              <a:spcBef>
                <a:spcPct val="60000"/>
              </a:spcBef>
            </a:pPr>
            <a:r>
              <a:rPr lang="en-GB" dirty="0">
                <a:solidFill>
                  <a:schemeClr val="bg2">
                    <a:lumMod val="10000"/>
                  </a:schemeClr>
                </a:solidFill>
              </a:rPr>
              <a:t>Secure outstanding critical resources for 1st December 2020 Implementation Plan</a:t>
            </a:r>
          </a:p>
          <a:p>
            <a:pPr lvl="1">
              <a:spcBef>
                <a:spcPct val="60000"/>
              </a:spcBef>
            </a:pPr>
            <a:r>
              <a:rPr lang="en-GB" dirty="0">
                <a:solidFill>
                  <a:schemeClr val="bg2">
                    <a:lumMod val="10000"/>
                  </a:schemeClr>
                </a:solidFill>
              </a:rPr>
              <a:t>Progress Initiative to L2.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0A550CC-4811-4545-95E6-2F26E762C0E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890716" y="1754999"/>
            <a:ext cx="3593141" cy="52075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pPr lvl="1">
              <a:spcBef>
                <a:spcPct val="60000"/>
              </a:spcBef>
            </a:pPr>
            <a:r>
              <a:rPr lang="en-GB" dirty="0">
                <a:solidFill>
                  <a:schemeClr val="bg2">
                    <a:lumMod val="10000"/>
                  </a:schemeClr>
                </a:solidFill>
              </a:rPr>
              <a:t>Decisions Already Made</a:t>
            </a:r>
          </a:p>
          <a:p>
            <a:pPr lvl="2">
              <a:spcBef>
                <a:spcPct val="60000"/>
              </a:spcBef>
            </a:pPr>
            <a:r>
              <a:rPr lang="en-GB" sz="1400" dirty="0">
                <a:solidFill>
                  <a:schemeClr val="bg2">
                    <a:lumMod val="10000"/>
                  </a:schemeClr>
                </a:solidFill>
              </a:rPr>
              <a:t>Support to commence Remediation E2E Activities (Assessments, Remediation and Certifications) at maximum of 60 sites starting 1</a:t>
            </a:r>
            <a:r>
              <a:rPr lang="en-GB" sz="1400" baseline="30000" dirty="0">
                <a:solidFill>
                  <a:schemeClr val="bg2">
                    <a:lumMod val="10000"/>
                  </a:schemeClr>
                </a:solidFill>
              </a:rPr>
              <a:t>st</a:t>
            </a:r>
            <a:r>
              <a:rPr lang="en-GB" sz="1400" dirty="0">
                <a:solidFill>
                  <a:schemeClr val="bg2">
                    <a:lumMod val="10000"/>
                  </a:schemeClr>
                </a:solidFill>
              </a:rPr>
              <a:t> Dec 2020 up-to 31</a:t>
            </a:r>
            <a:r>
              <a:rPr lang="en-GB" sz="1400" baseline="30000" dirty="0">
                <a:solidFill>
                  <a:schemeClr val="bg2">
                    <a:lumMod val="10000"/>
                  </a:schemeClr>
                </a:solidFill>
              </a:rPr>
              <a:t>st</a:t>
            </a:r>
            <a:r>
              <a:rPr lang="en-GB" sz="1400" dirty="0">
                <a:solidFill>
                  <a:schemeClr val="bg2">
                    <a:lumMod val="10000"/>
                  </a:schemeClr>
                </a:solidFill>
              </a:rPr>
              <a:t> Dec 2020.</a:t>
            </a:r>
          </a:p>
          <a:p>
            <a:pPr lvl="2">
              <a:spcBef>
                <a:spcPct val="60000"/>
              </a:spcBef>
            </a:pPr>
            <a:r>
              <a:rPr lang="en-GB" sz="1400" dirty="0">
                <a:solidFill>
                  <a:schemeClr val="bg2">
                    <a:lumMod val="10000"/>
                  </a:schemeClr>
                </a:solidFill>
              </a:rPr>
              <a:t>Additional budget of F$0.5m on top of 2020 budget to enable mobilisation and commencement of Remediation E2E activities from 1</a:t>
            </a:r>
            <a:r>
              <a:rPr lang="en-GB" sz="1400" baseline="30000" dirty="0">
                <a:solidFill>
                  <a:schemeClr val="bg2">
                    <a:lumMod val="10000"/>
                  </a:schemeClr>
                </a:solidFill>
              </a:rPr>
              <a:t>st</a:t>
            </a:r>
            <a:r>
              <a:rPr lang="en-GB" sz="1400" dirty="0">
                <a:solidFill>
                  <a:schemeClr val="bg2">
                    <a:lumMod val="10000"/>
                  </a:schemeClr>
                </a:solidFill>
              </a:rPr>
              <a:t> Dec 2020</a:t>
            </a:r>
          </a:p>
          <a:p>
            <a:pPr lvl="1">
              <a:spcBef>
                <a:spcPct val="60000"/>
              </a:spcBef>
            </a:pPr>
            <a:r>
              <a:rPr lang="en-GB" dirty="0">
                <a:solidFill>
                  <a:schemeClr val="bg2">
                    <a:lumMod val="10000"/>
                  </a:schemeClr>
                </a:solidFill>
              </a:rPr>
              <a:t>Logistics, Security &amp; CTS Support</a:t>
            </a:r>
          </a:p>
          <a:p>
            <a:pPr lvl="2">
              <a:spcBef>
                <a:spcPct val="60000"/>
              </a:spcBef>
            </a:pPr>
            <a:r>
              <a:rPr lang="en-GB" sz="1400" dirty="0">
                <a:solidFill>
                  <a:schemeClr val="bg2">
                    <a:lumMod val="10000"/>
                  </a:schemeClr>
                </a:solidFill>
              </a:rPr>
              <a:t>16nos Security escort teams (Men + accommodation + Vehicles)</a:t>
            </a:r>
          </a:p>
          <a:p>
            <a:pPr lvl="2">
              <a:spcBef>
                <a:spcPct val="60000"/>
              </a:spcBef>
            </a:pPr>
            <a:r>
              <a:rPr lang="en-GB" sz="1400" dirty="0">
                <a:solidFill>
                  <a:schemeClr val="bg2">
                    <a:lumMod val="10000"/>
                  </a:schemeClr>
                </a:solidFill>
              </a:rPr>
              <a:t>15 </a:t>
            </a:r>
            <a:r>
              <a:rPr lang="en-GB" sz="1400" dirty="0" err="1">
                <a:solidFill>
                  <a:schemeClr val="bg2">
                    <a:lumMod val="10000"/>
                  </a:schemeClr>
                </a:solidFill>
              </a:rPr>
              <a:t>nos</a:t>
            </a:r>
            <a:r>
              <a:rPr lang="en-GB" sz="1400" dirty="0">
                <a:solidFill>
                  <a:schemeClr val="bg2">
                    <a:lumMod val="10000"/>
                  </a:schemeClr>
                </a:solidFill>
              </a:rPr>
              <a:t> Vehicle + Driver for SPDC CSR</a:t>
            </a:r>
          </a:p>
          <a:p>
            <a:pPr lvl="2">
              <a:spcBef>
                <a:spcPct val="60000"/>
              </a:spcBef>
            </a:pPr>
            <a:r>
              <a:rPr lang="en-GB" sz="1400" dirty="0">
                <a:solidFill>
                  <a:schemeClr val="bg2">
                    <a:lumMod val="10000"/>
                  </a:schemeClr>
                </a:solidFill>
              </a:rPr>
              <a:t>Expedited CTS for 12 sites by 30</a:t>
            </a:r>
            <a:r>
              <a:rPr lang="en-GB" sz="1400" baseline="30000" dirty="0">
                <a:solidFill>
                  <a:schemeClr val="bg2">
                    <a:lumMod val="10000"/>
                  </a:schemeClr>
                </a:solidFill>
              </a:rPr>
              <a:t>th</a:t>
            </a:r>
            <a:r>
              <a:rPr lang="en-GB" sz="1400" dirty="0">
                <a:solidFill>
                  <a:schemeClr val="bg2">
                    <a:lumMod val="10000"/>
                  </a:schemeClr>
                </a:solidFill>
              </a:rPr>
              <a:t> Nov 20 </a:t>
            </a:r>
          </a:p>
          <a:p>
            <a:pPr lvl="2">
              <a:spcBef>
                <a:spcPct val="60000"/>
              </a:spcBef>
            </a:pPr>
            <a:r>
              <a:rPr lang="en-GB" sz="1400" dirty="0">
                <a:solidFill>
                  <a:schemeClr val="bg2">
                    <a:lumMod val="10000"/>
                  </a:schemeClr>
                </a:solidFill>
              </a:rPr>
              <a:t>1 </a:t>
            </a:r>
            <a:r>
              <a:rPr lang="en-GB" sz="1400" dirty="0" err="1">
                <a:solidFill>
                  <a:schemeClr val="bg2">
                    <a:lumMod val="10000"/>
                  </a:schemeClr>
                </a:solidFill>
              </a:rPr>
              <a:t>nos</a:t>
            </a:r>
            <a:r>
              <a:rPr lang="en-GB" sz="1400" dirty="0">
                <a:solidFill>
                  <a:schemeClr val="bg2">
                    <a:lumMod val="10000"/>
                  </a:schemeClr>
                </a:solidFill>
              </a:rPr>
              <a:t> Dedicated Surveyor from Geomatics</a:t>
            </a:r>
          </a:p>
          <a:p>
            <a:pPr lvl="2">
              <a:spcBef>
                <a:spcPct val="60000"/>
              </a:spcBef>
            </a:pPr>
            <a:endParaRPr lang="en-GB" sz="1400" dirty="0"/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571A0AB5-8C97-432D-8CF3-450D47C18257}"/>
              </a:ext>
            </a:extLst>
          </p:cNvPr>
          <p:cNvGrpSpPr/>
          <p:nvPr/>
        </p:nvGrpSpPr>
        <p:grpSpPr>
          <a:xfrm>
            <a:off x="4022309" y="1166104"/>
            <a:ext cx="3593141" cy="545127"/>
            <a:chOff x="4022309" y="1556629"/>
            <a:chExt cx="3593141" cy="545127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DF95735E-2BB3-448D-A4E0-56BC1484AA84}"/>
                </a:ext>
              </a:extLst>
            </p:cNvPr>
            <p:cNvSpPr txBox="1"/>
            <p:nvPr/>
          </p:nvSpPr>
          <p:spPr>
            <a:xfrm>
              <a:off x="4622813" y="1815074"/>
              <a:ext cx="2244712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lvl="0" indent="0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9pPr>
            </a:lstStyle>
            <a:p>
              <a:r>
                <a:rPr lang="en-GB" b="1" dirty="0">
                  <a:solidFill>
                    <a:srgbClr val="C00000"/>
                  </a:solidFill>
                </a:rPr>
                <a:t>Promise for next week</a:t>
              </a: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6082B941-E71C-4C18-B8A5-6DE3E4A216B8}"/>
                </a:ext>
              </a:extLst>
            </p:cNvPr>
            <p:cNvCxnSpPr>
              <a:cxnSpLocks/>
            </p:cNvCxnSpPr>
            <p:nvPr/>
          </p:nvCxnSpPr>
          <p:spPr>
            <a:xfrm>
              <a:off x="4022309" y="2101756"/>
              <a:ext cx="3593141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6" name="CustomIcon" descr="End">
              <a:extLst>
                <a:ext uri="{FF2B5EF4-FFF2-40B4-BE49-F238E27FC236}">
                  <a16:creationId xmlns:a16="http://schemas.microsoft.com/office/drawing/2014/main" id="{80ADF1B4-8A94-4691-B6B0-35318FFDC796}"/>
                </a:ext>
              </a:extLst>
            </p:cNvPr>
            <p:cNvPicPr>
              <a:picLocks noChangeAspect="1"/>
            </p:cNvPicPr>
            <p:nvPr>
              <p:custDataLst>
                <p:tags r:id="rId10"/>
              </p:custDataLst>
            </p:nvPr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rcRect/>
            <a:stretch/>
          </p:blipFill>
          <p:spPr>
            <a:xfrm>
              <a:off x="4022309" y="1556629"/>
              <a:ext cx="504666" cy="504666"/>
            </a:xfrm>
            <a:prstGeom prst="rect">
              <a:avLst/>
            </a:prstGeom>
          </p:spPr>
        </p:pic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2114C163-29DC-4352-A17A-0E56321DCE90}"/>
              </a:ext>
            </a:extLst>
          </p:cNvPr>
          <p:cNvGrpSpPr/>
          <p:nvPr/>
        </p:nvGrpSpPr>
        <p:grpSpPr>
          <a:xfrm>
            <a:off x="7918068" y="1166104"/>
            <a:ext cx="3737683" cy="545127"/>
            <a:chOff x="7918068" y="1556629"/>
            <a:chExt cx="3737683" cy="545127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EED5A17A-6358-4E8C-B3ED-00EB159DBEC0}"/>
                </a:ext>
              </a:extLst>
            </p:cNvPr>
            <p:cNvSpPr txBox="1"/>
            <p:nvPr/>
          </p:nvSpPr>
          <p:spPr>
            <a:xfrm>
              <a:off x="8518572" y="1815074"/>
              <a:ext cx="3137179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lvl="0" indent="0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9pPr>
            </a:lstStyle>
            <a:p>
              <a:r>
                <a:rPr lang="en-GB" b="1" dirty="0">
                  <a:solidFill>
                    <a:srgbClr val="C00000"/>
                  </a:solidFill>
                </a:rPr>
                <a:t>Support required/Key decisions</a:t>
              </a: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8E08B613-18CA-4BA2-BCFF-AE09CB6DD9F1}"/>
                </a:ext>
              </a:extLst>
            </p:cNvPr>
            <p:cNvCxnSpPr>
              <a:cxnSpLocks/>
            </p:cNvCxnSpPr>
            <p:nvPr/>
          </p:nvCxnSpPr>
          <p:spPr>
            <a:xfrm>
              <a:off x="7918068" y="2101756"/>
              <a:ext cx="3593141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2" name="CustomIcon" descr="Open hand">
              <a:extLst>
                <a:ext uri="{FF2B5EF4-FFF2-40B4-BE49-F238E27FC236}">
                  <a16:creationId xmlns:a16="http://schemas.microsoft.com/office/drawing/2014/main" id="{7E1FA945-F5BF-4BD7-BA7F-727BFC72C085}"/>
                </a:ext>
              </a:extLst>
            </p:cNvPr>
            <p:cNvPicPr>
              <a:picLocks noChangeAspect="1"/>
            </p:cNvPicPr>
            <p:nvPr>
              <p:custDataLst>
                <p:tags r:id="rId9"/>
              </p:custDataLst>
            </p:nvPr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rcRect/>
            <a:stretch/>
          </p:blipFill>
          <p:spPr>
            <a:xfrm>
              <a:off x="7918068" y="1556629"/>
              <a:ext cx="504666" cy="504666"/>
            </a:xfrm>
            <a:prstGeom prst="rect">
              <a:avLst/>
            </a:prstGeom>
          </p:spPr>
        </p:pic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862B4404-FAAC-4E55-9046-76DFFFA61986}"/>
              </a:ext>
            </a:extLst>
          </p:cNvPr>
          <p:cNvGrpSpPr/>
          <p:nvPr/>
        </p:nvGrpSpPr>
        <p:grpSpPr>
          <a:xfrm>
            <a:off x="508011" y="1166104"/>
            <a:ext cx="3142765" cy="545127"/>
            <a:chOff x="508011" y="1556629"/>
            <a:chExt cx="3142765" cy="545127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9E892FA0-EC42-41DF-9A16-1702B64DC70B}"/>
                </a:ext>
              </a:extLst>
            </p:cNvPr>
            <p:cNvSpPr txBox="1"/>
            <p:nvPr/>
          </p:nvSpPr>
          <p:spPr>
            <a:xfrm>
              <a:off x="1108515" y="1815074"/>
              <a:ext cx="1948586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lvl="0" indent="0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9pPr>
            </a:lstStyle>
            <a:p>
              <a:r>
                <a:rPr lang="en-GB" b="1" dirty="0">
                  <a:solidFill>
                    <a:srgbClr val="C00000"/>
                  </a:solidFill>
                </a:rPr>
                <a:t>Last Week</a:t>
              </a: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2C5535C2-C577-466D-8FE0-1C689BB5D369}"/>
                </a:ext>
              </a:extLst>
            </p:cNvPr>
            <p:cNvCxnSpPr/>
            <p:nvPr/>
          </p:nvCxnSpPr>
          <p:spPr>
            <a:xfrm>
              <a:off x="508011" y="2101756"/>
              <a:ext cx="3142765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6" name="CustomIcon" descr="Beginning">
              <a:extLst>
                <a:ext uri="{FF2B5EF4-FFF2-40B4-BE49-F238E27FC236}">
                  <a16:creationId xmlns:a16="http://schemas.microsoft.com/office/drawing/2014/main" id="{791D27C1-85F4-4123-9E08-23EC9E360AB5}"/>
                </a:ext>
              </a:extLst>
            </p:cNvPr>
            <p:cNvPicPr>
              <a:picLocks noChangeAspect="1"/>
            </p:cNvPicPr>
            <p:nvPr>
              <p:custDataLst>
                <p:tags r:id="rId8"/>
              </p:custDataLst>
            </p:nvPr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rcRect/>
            <a:stretch/>
          </p:blipFill>
          <p:spPr>
            <a:xfrm>
              <a:off x="508011" y="1556629"/>
              <a:ext cx="504666" cy="504666"/>
            </a:xfrm>
            <a:prstGeom prst="rect">
              <a:avLst/>
            </a:prstGeom>
          </p:spPr>
        </p:pic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5308884D-6F5C-48A6-8C26-393EF7172D0A}"/>
              </a:ext>
            </a:extLst>
          </p:cNvPr>
          <p:cNvGrpSpPr/>
          <p:nvPr/>
        </p:nvGrpSpPr>
        <p:grpSpPr>
          <a:xfrm>
            <a:off x="3877767" y="5434746"/>
            <a:ext cx="3737683" cy="545127"/>
            <a:chOff x="7918068" y="4843985"/>
            <a:chExt cx="3737683" cy="545127"/>
          </a:xfrm>
        </p:grpSpPr>
        <p:pic>
          <p:nvPicPr>
            <p:cNvPr id="46" name="CustomIcon" descr="Money">
              <a:extLst>
                <a:ext uri="{FF2B5EF4-FFF2-40B4-BE49-F238E27FC236}">
                  <a16:creationId xmlns:a16="http://schemas.microsoft.com/office/drawing/2014/main" id="{40E3224C-E7F2-4C21-A3FC-B27149582EE0}"/>
                </a:ext>
              </a:extLst>
            </p:cNvPr>
            <p:cNvPicPr>
              <a:picLocks/>
            </p:cNvPicPr>
            <p:nvPr>
              <p:custDataLst>
                <p:tags r:id="rId7"/>
              </p:custDataLst>
            </p:nvPr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rcRect/>
            <a:stretch/>
          </p:blipFill>
          <p:spPr>
            <a:xfrm>
              <a:off x="7918068" y="4843985"/>
              <a:ext cx="504666" cy="504666"/>
            </a:xfrm>
            <a:prstGeom prst="rect">
              <a:avLst/>
            </a:prstGeom>
          </p:spPr>
        </p:pic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B1BB8544-6C23-4382-AFE2-936213A42F4C}"/>
                </a:ext>
              </a:extLst>
            </p:cNvPr>
            <p:cNvSpPr txBox="1"/>
            <p:nvPr/>
          </p:nvSpPr>
          <p:spPr>
            <a:xfrm>
              <a:off x="8518572" y="5102430"/>
              <a:ext cx="3137179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lvl="0" indent="0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9pPr>
            </a:lstStyle>
            <a:p>
              <a:r>
                <a:rPr lang="en-GB" sz="1400" b="1" dirty="0">
                  <a:solidFill>
                    <a:srgbClr val="C00000"/>
                  </a:solidFill>
                </a:rPr>
                <a:t>Expected impact (Additional Budget)</a:t>
              </a:r>
            </a:p>
          </p:txBody>
        </p: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75B9784D-29BC-4C40-BA2C-1E5117D8656B}"/>
                </a:ext>
              </a:extLst>
            </p:cNvPr>
            <p:cNvCxnSpPr>
              <a:cxnSpLocks/>
            </p:cNvCxnSpPr>
            <p:nvPr/>
          </p:nvCxnSpPr>
          <p:spPr>
            <a:xfrm>
              <a:off x="7918068" y="5389112"/>
              <a:ext cx="3593141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C97123D9-FF6F-4DB6-AB01-AD841FE8CDA8}"/>
              </a:ext>
            </a:extLst>
          </p:cNvPr>
          <p:cNvGrpSpPr/>
          <p:nvPr/>
        </p:nvGrpSpPr>
        <p:grpSpPr>
          <a:xfrm>
            <a:off x="3877767" y="6011284"/>
            <a:ext cx="3593141" cy="723307"/>
            <a:chOff x="7918068" y="5568287"/>
            <a:chExt cx="3778632" cy="723307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32A37EF-6772-441F-B4BB-4074CE3EE38F}"/>
                </a:ext>
              </a:extLst>
            </p:cNvPr>
            <p:cNvSpPr/>
            <p:nvPr/>
          </p:nvSpPr>
          <p:spPr>
            <a:xfrm>
              <a:off x="7918068" y="5568287"/>
              <a:ext cx="1860553" cy="723307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2020: </a:t>
              </a:r>
              <a:r>
                <a:rPr lang="en-US" sz="1600" dirty="0">
                  <a:solidFill>
                    <a:schemeClr val="bg1"/>
                  </a:solidFill>
                </a:rPr>
                <a:t>$</a:t>
              </a:r>
              <a:r>
                <a:rPr lang="en-US" sz="1600" b="1" dirty="0">
                  <a:solidFill>
                    <a:schemeClr val="bg1"/>
                  </a:solidFill>
                </a:rPr>
                <a:t>0.5m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9D369420-C37F-408B-81AE-E97953581D2D}"/>
                </a:ext>
              </a:extLst>
            </p:cNvPr>
            <p:cNvSpPr/>
            <p:nvPr/>
          </p:nvSpPr>
          <p:spPr>
            <a:xfrm>
              <a:off x="9836147" y="5568287"/>
              <a:ext cx="1860553" cy="723307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2021: ~</a:t>
              </a:r>
              <a:r>
                <a:rPr lang="en-US" sz="1600" dirty="0">
                  <a:solidFill>
                    <a:schemeClr val="bg1"/>
                  </a:solidFill>
                </a:rPr>
                <a:t>$</a:t>
              </a:r>
              <a:r>
                <a:rPr lang="en-US" sz="1600" b="1" dirty="0">
                  <a:solidFill>
                    <a:schemeClr val="bg1"/>
                  </a:solidFill>
                </a:rPr>
                <a:t>6m</a:t>
              </a:r>
              <a:endParaRPr lang="en-GB" sz="16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51" name="1. On-page tracker">
            <a:extLst>
              <a:ext uri="{FF2B5EF4-FFF2-40B4-BE49-F238E27FC236}">
                <a16:creationId xmlns:a16="http://schemas.microsoft.com/office/drawing/2014/main" id="{26DFC6FF-09FC-4C1C-B0B7-CCFBF1EE34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8011" y="290022"/>
            <a:ext cx="525143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rgbClr val="808080"/>
                </a:solidFill>
                <a:ea typeface="+mj-ea"/>
              </a:rPr>
              <a:t>#I-0096259: </a:t>
            </a:r>
            <a:r>
              <a:rPr lang="en-US" sz="1200" dirty="0">
                <a:latin typeface="ShellMedium" panose="00000600000000000000" pitchFamily="50" charset="0"/>
              </a:rPr>
              <a:t>Liquidate Remediation backlogs from 258 to Zero by Q4 2021</a:t>
            </a:r>
            <a:endParaRPr lang="en-US" sz="1200" baseline="0" noProof="0" dirty="0">
              <a:solidFill>
                <a:srgbClr val="808080"/>
              </a:solidFill>
              <a:latin typeface="+mn-lt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15876923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F62C719-90B9-464B-B602-00A87DE0A07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6601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1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86E8666-5258-44CB-BBBB-A1063228D71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200" b="1" dirty="0" err="1">
              <a:solidFill>
                <a:schemeClr val="tx1"/>
              </a:solidFill>
              <a:latin typeface="Futura Bold" panose="00000900000000000000" pitchFamily="2" charset="0"/>
              <a:ea typeface="Arial Unicode MS"/>
              <a:sym typeface="Futura Bold" panose="00000900000000000000" pitchFamily="2" charset="0"/>
            </a:endParaRPr>
          </a:p>
        </p:txBody>
      </p:sp>
      <p:sp>
        <p:nvSpPr>
          <p:cNvPr id="3" name="1. On-page tracker">
            <a:extLst>
              <a:ext uri="{FF2B5EF4-FFF2-40B4-BE49-F238E27FC236}">
                <a16:creationId xmlns:a16="http://schemas.microsoft.com/office/drawing/2014/main" id="{F6CE2F40-B441-48A0-A703-372D8A1BF0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8011" y="290022"/>
            <a:ext cx="525143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rgbClr val="808080"/>
                </a:solidFill>
              </a:rPr>
              <a:t>#I-0096259: </a:t>
            </a:r>
            <a:r>
              <a:rPr lang="en-US" sz="1200" dirty="0">
                <a:latin typeface="ShellMedium" panose="00000600000000000000" pitchFamily="50" charset="0"/>
              </a:rPr>
              <a:t>Liquidate Remediation backlogs from 258 to Zero by Q4 2021</a:t>
            </a:r>
            <a:endParaRPr lang="en-US" sz="1200" dirty="0">
              <a:solidFill>
                <a:srgbClr val="808080"/>
              </a:solidFill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87D3B5A1-A964-4925-8910-5B1188688C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VERVIEW OF DECEMBER 1 PLAN AND CRITICAL RESOURC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B2F4114-13E2-4CB0-92F1-0A43EC0F711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3538" y="1195754"/>
            <a:ext cx="11543324" cy="4958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3127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1" name="Oval 950">
            <a:extLst>
              <a:ext uri="{FF2B5EF4-FFF2-40B4-BE49-F238E27FC236}">
                <a16:creationId xmlns:a16="http://schemas.microsoft.com/office/drawing/2014/main" id="{E88B16CB-825A-43AD-A296-892E812916AB}"/>
              </a:ext>
            </a:extLst>
          </p:cNvPr>
          <p:cNvSpPr/>
          <p:nvPr/>
        </p:nvSpPr>
        <p:spPr>
          <a:xfrm rot="17726534">
            <a:off x="9105219" y="4344439"/>
            <a:ext cx="660102" cy="1266473"/>
          </a:xfrm>
          <a:prstGeom prst="ellipse">
            <a:avLst/>
          </a:prstGeom>
          <a:solidFill>
            <a:schemeClr val="accent3">
              <a:lumMod val="20000"/>
              <a:lumOff val="80000"/>
              <a:alpha val="52000"/>
            </a:schemeClr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C40E2234-CBF9-4DB8-AEC1-B4CDCF6E2DDE}"/>
              </a:ext>
            </a:extLst>
          </p:cNvPr>
          <p:cNvSpPr/>
          <p:nvPr/>
        </p:nvSpPr>
        <p:spPr>
          <a:xfrm>
            <a:off x="8821411" y="4853993"/>
            <a:ext cx="844698" cy="455118"/>
          </a:xfrm>
          <a:custGeom>
            <a:avLst/>
            <a:gdLst>
              <a:gd name="connsiteX0" fmla="*/ 0 w 844698"/>
              <a:gd name="connsiteY0" fmla="*/ 0 h 455118"/>
              <a:gd name="connsiteX1" fmla="*/ 38100 w 844698"/>
              <a:gd name="connsiteY1" fmla="*/ 44450 h 455118"/>
              <a:gd name="connsiteX2" fmla="*/ 133350 w 844698"/>
              <a:gd name="connsiteY2" fmla="*/ 50800 h 455118"/>
              <a:gd name="connsiteX3" fmla="*/ 222250 w 844698"/>
              <a:gd name="connsiteY3" fmla="*/ 95250 h 455118"/>
              <a:gd name="connsiteX4" fmla="*/ 352425 w 844698"/>
              <a:gd name="connsiteY4" fmla="*/ 133350 h 455118"/>
              <a:gd name="connsiteX5" fmla="*/ 422275 w 844698"/>
              <a:gd name="connsiteY5" fmla="*/ 161925 h 455118"/>
              <a:gd name="connsiteX6" fmla="*/ 695325 w 844698"/>
              <a:gd name="connsiteY6" fmla="*/ 333375 h 455118"/>
              <a:gd name="connsiteX7" fmla="*/ 752475 w 844698"/>
              <a:gd name="connsiteY7" fmla="*/ 371475 h 455118"/>
              <a:gd name="connsiteX8" fmla="*/ 838200 w 844698"/>
              <a:gd name="connsiteY8" fmla="*/ 425450 h 45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44698" h="455118">
                <a:moveTo>
                  <a:pt x="0" y="0"/>
                </a:moveTo>
                <a:cubicBezTo>
                  <a:pt x="7937" y="17991"/>
                  <a:pt x="15875" y="35983"/>
                  <a:pt x="38100" y="44450"/>
                </a:cubicBezTo>
                <a:cubicBezTo>
                  <a:pt x="60325" y="52917"/>
                  <a:pt x="102658" y="42333"/>
                  <a:pt x="133350" y="50800"/>
                </a:cubicBezTo>
                <a:cubicBezTo>
                  <a:pt x="164042" y="59267"/>
                  <a:pt x="185738" y="81492"/>
                  <a:pt x="222250" y="95250"/>
                </a:cubicBezTo>
                <a:cubicBezTo>
                  <a:pt x="258762" y="109008"/>
                  <a:pt x="319088" y="122238"/>
                  <a:pt x="352425" y="133350"/>
                </a:cubicBezTo>
                <a:cubicBezTo>
                  <a:pt x="385762" y="144462"/>
                  <a:pt x="365125" y="128588"/>
                  <a:pt x="422275" y="161925"/>
                </a:cubicBezTo>
                <a:cubicBezTo>
                  <a:pt x="479425" y="195263"/>
                  <a:pt x="640292" y="298450"/>
                  <a:pt x="695325" y="333375"/>
                </a:cubicBezTo>
                <a:cubicBezTo>
                  <a:pt x="750358" y="368300"/>
                  <a:pt x="728663" y="356129"/>
                  <a:pt x="752475" y="371475"/>
                </a:cubicBezTo>
                <a:cubicBezTo>
                  <a:pt x="776287" y="386821"/>
                  <a:pt x="869950" y="510646"/>
                  <a:pt x="838200" y="425450"/>
                </a:cubicBezTo>
              </a:path>
            </a:pathLst>
          </a:custGeom>
          <a:noFill/>
          <a:ln>
            <a:solidFill>
              <a:srgbClr val="00B05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764" name="Oval 763">
            <a:extLst>
              <a:ext uri="{FF2B5EF4-FFF2-40B4-BE49-F238E27FC236}">
                <a16:creationId xmlns:a16="http://schemas.microsoft.com/office/drawing/2014/main" id="{D7329693-A9F9-47D3-B866-1CA9988F279D}"/>
              </a:ext>
            </a:extLst>
          </p:cNvPr>
          <p:cNvSpPr/>
          <p:nvPr/>
        </p:nvSpPr>
        <p:spPr>
          <a:xfrm>
            <a:off x="9598800" y="5260393"/>
            <a:ext cx="142875" cy="1143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0075C79C-BE33-4DB0-84DB-33025DED531C}"/>
              </a:ext>
            </a:extLst>
          </p:cNvPr>
          <p:cNvSpPr/>
          <p:nvPr/>
        </p:nvSpPr>
        <p:spPr>
          <a:xfrm rot="18494941">
            <a:off x="7836060" y="3976843"/>
            <a:ext cx="801644" cy="1183047"/>
          </a:xfrm>
          <a:prstGeom prst="ellipse">
            <a:avLst/>
          </a:prstGeom>
          <a:solidFill>
            <a:srgbClr val="FEF5CD"/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949" name="Oval 948">
            <a:extLst>
              <a:ext uri="{FF2B5EF4-FFF2-40B4-BE49-F238E27FC236}">
                <a16:creationId xmlns:a16="http://schemas.microsoft.com/office/drawing/2014/main" id="{4E921774-4FD0-4140-9362-8CA8A693CC70}"/>
              </a:ext>
            </a:extLst>
          </p:cNvPr>
          <p:cNvSpPr/>
          <p:nvPr/>
        </p:nvSpPr>
        <p:spPr>
          <a:xfrm rot="488525">
            <a:off x="5746761" y="3727457"/>
            <a:ext cx="2038641" cy="632127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950" name="Oval 949">
            <a:extLst>
              <a:ext uri="{FF2B5EF4-FFF2-40B4-BE49-F238E27FC236}">
                <a16:creationId xmlns:a16="http://schemas.microsoft.com/office/drawing/2014/main" id="{A623E7D9-C403-4489-ABB5-D99F9C0F3963}"/>
              </a:ext>
            </a:extLst>
          </p:cNvPr>
          <p:cNvSpPr/>
          <p:nvPr/>
        </p:nvSpPr>
        <p:spPr>
          <a:xfrm>
            <a:off x="8560290" y="3316699"/>
            <a:ext cx="1157898" cy="1336686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952" name="Oval 951">
            <a:hlinkClick r:id="" action="ppaction://noaction"/>
            <a:extLst>
              <a:ext uri="{FF2B5EF4-FFF2-40B4-BE49-F238E27FC236}">
                <a16:creationId xmlns:a16="http://schemas.microsoft.com/office/drawing/2014/main" id="{E6850D53-B97F-4F8D-B23D-8DC62F6BC720}"/>
              </a:ext>
            </a:extLst>
          </p:cNvPr>
          <p:cNvSpPr/>
          <p:nvPr/>
        </p:nvSpPr>
        <p:spPr>
          <a:xfrm rot="2527524">
            <a:off x="8751067" y="5288092"/>
            <a:ext cx="1126526" cy="1342546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953" name="Oval 952">
            <a:extLst>
              <a:ext uri="{FF2B5EF4-FFF2-40B4-BE49-F238E27FC236}">
                <a16:creationId xmlns:a16="http://schemas.microsoft.com/office/drawing/2014/main" id="{E18E6FDC-5591-48F5-A7A2-6A82724B5951}"/>
              </a:ext>
            </a:extLst>
          </p:cNvPr>
          <p:cNvSpPr/>
          <p:nvPr/>
        </p:nvSpPr>
        <p:spPr>
          <a:xfrm rot="16970282">
            <a:off x="6387433" y="4232028"/>
            <a:ext cx="1424916" cy="3396106"/>
          </a:xfrm>
          <a:prstGeom prst="ellipse">
            <a:avLst/>
          </a:prstGeom>
          <a:solidFill>
            <a:schemeClr val="accent3">
              <a:lumMod val="20000"/>
              <a:lumOff val="80000"/>
              <a:alpha val="46000"/>
            </a:schemeClr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954" name="Oval 953">
            <a:extLst>
              <a:ext uri="{FF2B5EF4-FFF2-40B4-BE49-F238E27FC236}">
                <a16:creationId xmlns:a16="http://schemas.microsoft.com/office/drawing/2014/main" id="{E3BD5555-25A8-4490-A421-984ED967F572}"/>
              </a:ext>
            </a:extLst>
          </p:cNvPr>
          <p:cNvSpPr/>
          <p:nvPr/>
        </p:nvSpPr>
        <p:spPr>
          <a:xfrm rot="18595029">
            <a:off x="3822991" y="3246263"/>
            <a:ext cx="1031651" cy="2805340"/>
          </a:xfrm>
          <a:prstGeom prst="ellipse">
            <a:avLst/>
          </a:prstGeom>
          <a:solidFill>
            <a:srgbClr val="F8D2D3"/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955" name="Oval 954">
            <a:extLst>
              <a:ext uri="{FF2B5EF4-FFF2-40B4-BE49-F238E27FC236}">
                <a16:creationId xmlns:a16="http://schemas.microsoft.com/office/drawing/2014/main" id="{A8F7C450-F1EE-4F23-9A1F-50122CA001F1}"/>
              </a:ext>
            </a:extLst>
          </p:cNvPr>
          <p:cNvSpPr/>
          <p:nvPr/>
        </p:nvSpPr>
        <p:spPr>
          <a:xfrm rot="4220847">
            <a:off x="1777873" y="3555919"/>
            <a:ext cx="1077404" cy="2450084"/>
          </a:xfrm>
          <a:prstGeom prst="ellipse">
            <a:avLst/>
          </a:prstGeom>
          <a:solidFill>
            <a:srgbClr val="FDE683"/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956" name="Oval 15">
            <a:extLst>
              <a:ext uri="{FF2B5EF4-FFF2-40B4-BE49-F238E27FC236}">
                <a16:creationId xmlns:a16="http://schemas.microsoft.com/office/drawing/2014/main" id="{13DCF262-4C16-4AE6-BA40-CB6BFF3B5064}"/>
              </a:ext>
            </a:extLst>
          </p:cNvPr>
          <p:cNvSpPr/>
          <p:nvPr/>
        </p:nvSpPr>
        <p:spPr>
          <a:xfrm rot="15950404">
            <a:off x="3940275" y="2687971"/>
            <a:ext cx="1027354" cy="2734787"/>
          </a:xfrm>
          <a:custGeom>
            <a:avLst/>
            <a:gdLst>
              <a:gd name="connsiteX0" fmla="*/ 0 w 913054"/>
              <a:gd name="connsiteY0" fmla="*/ 1300136 h 2600271"/>
              <a:gd name="connsiteX1" fmla="*/ 456527 w 913054"/>
              <a:gd name="connsiteY1" fmla="*/ 0 h 2600271"/>
              <a:gd name="connsiteX2" fmla="*/ 913054 w 913054"/>
              <a:gd name="connsiteY2" fmla="*/ 1300136 h 2600271"/>
              <a:gd name="connsiteX3" fmla="*/ 456527 w 913054"/>
              <a:gd name="connsiteY3" fmla="*/ 2600272 h 2600271"/>
              <a:gd name="connsiteX4" fmla="*/ 0 w 913054"/>
              <a:gd name="connsiteY4" fmla="*/ 1300136 h 2600271"/>
              <a:gd name="connsiteX0" fmla="*/ 0 w 1021004"/>
              <a:gd name="connsiteY0" fmla="*/ 1361829 h 2675252"/>
              <a:gd name="connsiteX1" fmla="*/ 456527 w 1021004"/>
              <a:gd name="connsiteY1" fmla="*/ 61693 h 2675252"/>
              <a:gd name="connsiteX2" fmla="*/ 1021004 w 1021004"/>
              <a:gd name="connsiteY2" fmla="*/ 647457 h 2675252"/>
              <a:gd name="connsiteX3" fmla="*/ 456527 w 1021004"/>
              <a:gd name="connsiteY3" fmla="*/ 2661965 h 2675252"/>
              <a:gd name="connsiteX4" fmla="*/ 0 w 1021004"/>
              <a:gd name="connsiteY4" fmla="*/ 1361829 h 2675252"/>
              <a:gd name="connsiteX0" fmla="*/ 0 w 1027354"/>
              <a:gd name="connsiteY0" fmla="*/ 1359131 h 2672248"/>
              <a:gd name="connsiteX1" fmla="*/ 456527 w 1027354"/>
              <a:gd name="connsiteY1" fmla="*/ 58995 h 2672248"/>
              <a:gd name="connsiteX2" fmla="*/ 1027354 w 1027354"/>
              <a:gd name="connsiteY2" fmla="*/ 654284 h 2672248"/>
              <a:gd name="connsiteX3" fmla="*/ 456527 w 1027354"/>
              <a:gd name="connsiteY3" fmla="*/ 2659267 h 2672248"/>
              <a:gd name="connsiteX4" fmla="*/ 0 w 1027354"/>
              <a:gd name="connsiteY4" fmla="*/ 1359131 h 26722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7354" h="2672248">
                <a:moveTo>
                  <a:pt x="0" y="1359131"/>
                </a:moveTo>
                <a:cubicBezTo>
                  <a:pt x="0" y="641086"/>
                  <a:pt x="285301" y="176470"/>
                  <a:pt x="456527" y="58995"/>
                </a:cubicBezTo>
                <a:cubicBezTo>
                  <a:pt x="627753" y="-58480"/>
                  <a:pt x="1027354" y="-63761"/>
                  <a:pt x="1027354" y="654284"/>
                </a:cubicBezTo>
                <a:cubicBezTo>
                  <a:pt x="1027354" y="1372329"/>
                  <a:pt x="627753" y="2541793"/>
                  <a:pt x="456527" y="2659267"/>
                </a:cubicBezTo>
                <a:cubicBezTo>
                  <a:pt x="285301" y="2776742"/>
                  <a:pt x="0" y="2077176"/>
                  <a:pt x="0" y="1359131"/>
                </a:cubicBezTo>
                <a:close/>
              </a:path>
            </a:pathLst>
          </a:custGeom>
          <a:solidFill>
            <a:schemeClr val="accent5">
              <a:lumMod val="20000"/>
              <a:lumOff val="80000"/>
              <a:alpha val="92000"/>
            </a:schemeClr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957" name="Oval 956">
            <a:extLst>
              <a:ext uri="{FF2B5EF4-FFF2-40B4-BE49-F238E27FC236}">
                <a16:creationId xmlns:a16="http://schemas.microsoft.com/office/drawing/2014/main" id="{06970EE4-BECE-477D-90D5-74C03333EB84}"/>
              </a:ext>
            </a:extLst>
          </p:cNvPr>
          <p:cNvSpPr/>
          <p:nvPr/>
        </p:nvSpPr>
        <p:spPr>
          <a:xfrm rot="17820899">
            <a:off x="4539941" y="2422587"/>
            <a:ext cx="502878" cy="1903504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958" name="Oval 957">
            <a:extLst>
              <a:ext uri="{FF2B5EF4-FFF2-40B4-BE49-F238E27FC236}">
                <a16:creationId xmlns:a16="http://schemas.microsoft.com/office/drawing/2014/main" id="{C6CF39C0-83B2-4D30-B001-15D9F91D6CD7}"/>
              </a:ext>
            </a:extLst>
          </p:cNvPr>
          <p:cNvSpPr/>
          <p:nvPr/>
        </p:nvSpPr>
        <p:spPr>
          <a:xfrm>
            <a:off x="5172594" y="457986"/>
            <a:ext cx="1336747" cy="3229549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998C40B7-C8CF-4612-949B-0DE73D383F3F}"/>
              </a:ext>
            </a:extLst>
          </p:cNvPr>
          <p:cNvSpPr/>
          <p:nvPr/>
        </p:nvSpPr>
        <p:spPr>
          <a:xfrm>
            <a:off x="9111435" y="4239163"/>
            <a:ext cx="207963" cy="22245"/>
          </a:xfrm>
          <a:custGeom>
            <a:avLst/>
            <a:gdLst>
              <a:gd name="connsiteX0" fmla="*/ 207963 w 207963"/>
              <a:gd name="connsiteY0" fmla="*/ 0 h 22245"/>
              <a:gd name="connsiteX1" fmla="*/ 139700 w 207963"/>
              <a:gd name="connsiteY1" fmla="*/ 22225 h 22245"/>
              <a:gd name="connsiteX2" fmla="*/ 0 w 207963"/>
              <a:gd name="connsiteY2" fmla="*/ 3175 h 22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7963" h="22245">
                <a:moveTo>
                  <a:pt x="207963" y="0"/>
                </a:moveTo>
                <a:cubicBezTo>
                  <a:pt x="191161" y="10848"/>
                  <a:pt x="174360" y="21696"/>
                  <a:pt x="139700" y="22225"/>
                </a:cubicBezTo>
                <a:cubicBezTo>
                  <a:pt x="105040" y="22754"/>
                  <a:pt x="52520" y="12964"/>
                  <a:pt x="0" y="3175"/>
                </a:cubicBezTo>
              </a:path>
            </a:pathLst>
          </a:cu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4" name="Freeform: Shape 3">
            <a:hlinkClick r:id="" action="ppaction://noaction"/>
            <a:extLst>
              <a:ext uri="{FF2B5EF4-FFF2-40B4-BE49-F238E27FC236}">
                <a16:creationId xmlns:a16="http://schemas.microsoft.com/office/drawing/2014/main" id="{9F16B7A9-81CA-48C0-B200-51691089E223}"/>
              </a:ext>
            </a:extLst>
          </p:cNvPr>
          <p:cNvSpPr/>
          <p:nvPr/>
        </p:nvSpPr>
        <p:spPr>
          <a:xfrm>
            <a:off x="8881736" y="5338182"/>
            <a:ext cx="735013" cy="995362"/>
          </a:xfrm>
          <a:custGeom>
            <a:avLst/>
            <a:gdLst>
              <a:gd name="connsiteX0" fmla="*/ 790575 w 790575"/>
              <a:gd name="connsiteY0" fmla="*/ 0 h 962025"/>
              <a:gd name="connsiteX1" fmla="*/ 679450 w 790575"/>
              <a:gd name="connsiteY1" fmla="*/ 184150 h 962025"/>
              <a:gd name="connsiteX2" fmla="*/ 657225 w 790575"/>
              <a:gd name="connsiteY2" fmla="*/ 311150 h 962025"/>
              <a:gd name="connsiteX3" fmla="*/ 622300 w 790575"/>
              <a:gd name="connsiteY3" fmla="*/ 415925 h 962025"/>
              <a:gd name="connsiteX4" fmla="*/ 577850 w 790575"/>
              <a:gd name="connsiteY4" fmla="*/ 536575 h 962025"/>
              <a:gd name="connsiteX5" fmla="*/ 485775 w 790575"/>
              <a:gd name="connsiteY5" fmla="*/ 615950 h 962025"/>
              <a:gd name="connsiteX6" fmla="*/ 415925 w 790575"/>
              <a:gd name="connsiteY6" fmla="*/ 660400 h 962025"/>
              <a:gd name="connsiteX7" fmla="*/ 317500 w 790575"/>
              <a:gd name="connsiteY7" fmla="*/ 723900 h 962025"/>
              <a:gd name="connsiteX8" fmla="*/ 234950 w 790575"/>
              <a:gd name="connsiteY8" fmla="*/ 771525 h 962025"/>
              <a:gd name="connsiteX9" fmla="*/ 123825 w 790575"/>
              <a:gd name="connsiteY9" fmla="*/ 825500 h 962025"/>
              <a:gd name="connsiteX10" fmla="*/ 63500 w 790575"/>
              <a:gd name="connsiteY10" fmla="*/ 898525 h 962025"/>
              <a:gd name="connsiteX11" fmla="*/ 0 w 790575"/>
              <a:gd name="connsiteY11" fmla="*/ 962025 h 962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90575" h="962025">
                <a:moveTo>
                  <a:pt x="790575" y="0"/>
                </a:moveTo>
                <a:cubicBezTo>
                  <a:pt x="746125" y="66146"/>
                  <a:pt x="701675" y="132292"/>
                  <a:pt x="679450" y="184150"/>
                </a:cubicBezTo>
                <a:cubicBezTo>
                  <a:pt x="657225" y="236008"/>
                  <a:pt x="666750" y="272521"/>
                  <a:pt x="657225" y="311150"/>
                </a:cubicBezTo>
                <a:cubicBezTo>
                  <a:pt x="647700" y="349779"/>
                  <a:pt x="635529" y="378354"/>
                  <a:pt x="622300" y="415925"/>
                </a:cubicBezTo>
                <a:cubicBezTo>
                  <a:pt x="609071" y="453496"/>
                  <a:pt x="600604" y="503238"/>
                  <a:pt x="577850" y="536575"/>
                </a:cubicBezTo>
                <a:cubicBezTo>
                  <a:pt x="555096" y="569913"/>
                  <a:pt x="512763" y="595312"/>
                  <a:pt x="485775" y="615950"/>
                </a:cubicBezTo>
                <a:cubicBezTo>
                  <a:pt x="458787" y="636588"/>
                  <a:pt x="415925" y="660400"/>
                  <a:pt x="415925" y="660400"/>
                </a:cubicBezTo>
                <a:cubicBezTo>
                  <a:pt x="387879" y="678392"/>
                  <a:pt x="347662" y="705379"/>
                  <a:pt x="317500" y="723900"/>
                </a:cubicBezTo>
                <a:cubicBezTo>
                  <a:pt x="287337" y="742421"/>
                  <a:pt x="267229" y="754592"/>
                  <a:pt x="234950" y="771525"/>
                </a:cubicBezTo>
                <a:cubicBezTo>
                  <a:pt x="202671" y="788458"/>
                  <a:pt x="152400" y="804333"/>
                  <a:pt x="123825" y="825500"/>
                </a:cubicBezTo>
                <a:cubicBezTo>
                  <a:pt x="95250" y="846667"/>
                  <a:pt x="84137" y="875771"/>
                  <a:pt x="63500" y="898525"/>
                </a:cubicBezTo>
                <a:cubicBezTo>
                  <a:pt x="42863" y="921279"/>
                  <a:pt x="21431" y="941652"/>
                  <a:pt x="0" y="962025"/>
                </a:cubicBezTo>
              </a:path>
            </a:pathLst>
          </a:custGeom>
          <a:noFill/>
          <a:ln>
            <a:solidFill>
              <a:srgbClr val="00B05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7C2C162-5326-4752-A76B-F795C0A76F7F}"/>
              </a:ext>
            </a:extLst>
          </p:cNvPr>
          <p:cNvSpPr txBox="1"/>
          <p:nvPr/>
        </p:nvSpPr>
        <p:spPr bwMode="auto">
          <a:xfrm>
            <a:off x="8736635" y="4530263"/>
            <a:ext cx="744025" cy="13593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Pct val="85000"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Ogale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 MF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D1FD6DE-3B0F-48BC-8F51-34F900544998}"/>
              </a:ext>
            </a:extLst>
          </p:cNvPr>
          <p:cNvSpPr txBox="1"/>
          <p:nvPr/>
        </p:nvSpPr>
        <p:spPr bwMode="auto">
          <a:xfrm>
            <a:off x="9674569" y="5239503"/>
            <a:ext cx="744025" cy="13593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Pct val="85000"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K-</a:t>
            </a:r>
            <a:r>
              <a:rPr kumimoji="0" lang="en-U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Dere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 MF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98715E5-910F-457E-8015-AB66A7B47F3F}"/>
              </a:ext>
            </a:extLst>
          </p:cNvPr>
          <p:cNvSpPr txBox="1"/>
          <p:nvPr/>
        </p:nvSpPr>
        <p:spPr bwMode="auto">
          <a:xfrm>
            <a:off x="8794241" y="3923570"/>
            <a:ext cx="226028" cy="971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Pct val="85000"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12”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4474362-FB07-47C8-85F5-D3A327524670}"/>
              </a:ext>
            </a:extLst>
          </p:cNvPr>
          <p:cNvSpPr txBox="1"/>
          <p:nvPr/>
        </p:nvSpPr>
        <p:spPr bwMode="auto">
          <a:xfrm>
            <a:off x="9044322" y="4799774"/>
            <a:ext cx="744025" cy="971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Pct val="85000"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24”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F2D9FD3-B945-4EB0-8C1A-E5612A1D681A}"/>
              </a:ext>
            </a:extLst>
          </p:cNvPr>
          <p:cNvSpPr/>
          <p:nvPr/>
        </p:nvSpPr>
        <p:spPr>
          <a:xfrm>
            <a:off x="8692804" y="4196768"/>
            <a:ext cx="219135" cy="426244"/>
          </a:xfrm>
          <a:custGeom>
            <a:avLst/>
            <a:gdLst>
              <a:gd name="connsiteX0" fmla="*/ 0 w 219135"/>
              <a:gd name="connsiteY0" fmla="*/ 0 h 426244"/>
              <a:gd name="connsiteX1" fmla="*/ 138113 w 219135"/>
              <a:gd name="connsiteY1" fmla="*/ 33338 h 426244"/>
              <a:gd name="connsiteX2" fmla="*/ 219075 w 219135"/>
              <a:gd name="connsiteY2" fmla="*/ 123825 h 426244"/>
              <a:gd name="connsiteX3" fmla="*/ 152400 w 219135"/>
              <a:gd name="connsiteY3" fmla="*/ 252413 h 426244"/>
              <a:gd name="connsiteX4" fmla="*/ 92869 w 219135"/>
              <a:gd name="connsiteY4" fmla="*/ 366713 h 426244"/>
              <a:gd name="connsiteX5" fmla="*/ 104775 w 219135"/>
              <a:gd name="connsiteY5" fmla="*/ 426244 h 426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9135" h="426244">
                <a:moveTo>
                  <a:pt x="0" y="0"/>
                </a:moveTo>
                <a:cubicBezTo>
                  <a:pt x="50800" y="6350"/>
                  <a:pt x="101601" y="12701"/>
                  <a:pt x="138113" y="33338"/>
                </a:cubicBezTo>
                <a:cubicBezTo>
                  <a:pt x="174626" y="53976"/>
                  <a:pt x="216694" y="87313"/>
                  <a:pt x="219075" y="123825"/>
                </a:cubicBezTo>
                <a:cubicBezTo>
                  <a:pt x="221456" y="160338"/>
                  <a:pt x="152400" y="252413"/>
                  <a:pt x="152400" y="252413"/>
                </a:cubicBezTo>
                <a:cubicBezTo>
                  <a:pt x="131366" y="292894"/>
                  <a:pt x="100807" y="337741"/>
                  <a:pt x="92869" y="366713"/>
                </a:cubicBezTo>
                <a:cubicBezTo>
                  <a:pt x="84932" y="395685"/>
                  <a:pt x="94853" y="410964"/>
                  <a:pt x="104775" y="426244"/>
                </a:cubicBezTo>
              </a:path>
            </a:pathLst>
          </a:custGeom>
          <a:noFill/>
          <a:ln>
            <a:solidFill>
              <a:srgbClr val="00B05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0CF89A2E-4570-46EC-A3BB-860B76B90565}"/>
              </a:ext>
            </a:extLst>
          </p:cNvPr>
          <p:cNvSpPr/>
          <p:nvPr/>
        </p:nvSpPr>
        <p:spPr>
          <a:xfrm>
            <a:off x="8883324" y="3965787"/>
            <a:ext cx="217061" cy="654844"/>
          </a:xfrm>
          <a:custGeom>
            <a:avLst/>
            <a:gdLst>
              <a:gd name="connsiteX0" fmla="*/ 207168 w 217061"/>
              <a:gd name="connsiteY0" fmla="*/ 0 h 654844"/>
              <a:gd name="connsiteX1" fmla="*/ 214312 w 217061"/>
              <a:gd name="connsiteY1" fmla="*/ 297656 h 654844"/>
              <a:gd name="connsiteX2" fmla="*/ 166687 w 217061"/>
              <a:gd name="connsiteY2" fmla="*/ 400050 h 654844"/>
              <a:gd name="connsiteX3" fmla="*/ 66675 w 217061"/>
              <a:gd name="connsiteY3" fmla="*/ 538162 h 654844"/>
              <a:gd name="connsiteX4" fmla="*/ 0 w 217061"/>
              <a:gd name="connsiteY4" fmla="*/ 654844 h 654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7061" h="654844">
                <a:moveTo>
                  <a:pt x="207168" y="0"/>
                </a:moveTo>
                <a:cubicBezTo>
                  <a:pt x="214113" y="115490"/>
                  <a:pt x="221059" y="230981"/>
                  <a:pt x="214312" y="297656"/>
                </a:cubicBezTo>
                <a:cubicBezTo>
                  <a:pt x="207565" y="364331"/>
                  <a:pt x="191293" y="359966"/>
                  <a:pt x="166687" y="400050"/>
                </a:cubicBezTo>
                <a:cubicBezTo>
                  <a:pt x="142081" y="440134"/>
                  <a:pt x="94456" y="495696"/>
                  <a:pt x="66675" y="538162"/>
                </a:cubicBezTo>
                <a:cubicBezTo>
                  <a:pt x="38894" y="580628"/>
                  <a:pt x="19447" y="617736"/>
                  <a:pt x="0" y="654844"/>
                </a:cubicBezTo>
              </a:path>
            </a:pathLst>
          </a:custGeom>
          <a:noFill/>
          <a:ln>
            <a:solidFill>
              <a:srgbClr val="00B05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57CABD86-03EA-4CE8-B0D4-DEA6AADF04B9}"/>
              </a:ext>
            </a:extLst>
          </p:cNvPr>
          <p:cNvSpPr/>
          <p:nvPr/>
        </p:nvSpPr>
        <p:spPr>
          <a:xfrm>
            <a:off x="1608391" y="4717468"/>
            <a:ext cx="195636" cy="546100"/>
          </a:xfrm>
          <a:custGeom>
            <a:avLst/>
            <a:gdLst>
              <a:gd name="connsiteX0" fmla="*/ 2596 w 208971"/>
              <a:gd name="connsiteY0" fmla="*/ 549275 h 549275"/>
              <a:gd name="connsiteX1" fmla="*/ 21646 w 208971"/>
              <a:gd name="connsiteY1" fmla="*/ 349250 h 549275"/>
              <a:gd name="connsiteX2" fmla="*/ 161346 w 208971"/>
              <a:gd name="connsiteY2" fmla="*/ 336550 h 549275"/>
              <a:gd name="connsiteX3" fmla="*/ 208971 w 208971"/>
              <a:gd name="connsiteY3" fmla="*/ 0 h 549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971" h="549275">
                <a:moveTo>
                  <a:pt x="2596" y="549275"/>
                </a:moveTo>
                <a:cubicBezTo>
                  <a:pt x="-1108" y="466989"/>
                  <a:pt x="-4812" y="384704"/>
                  <a:pt x="21646" y="349250"/>
                </a:cubicBezTo>
                <a:cubicBezTo>
                  <a:pt x="48104" y="313796"/>
                  <a:pt x="130125" y="394758"/>
                  <a:pt x="161346" y="336550"/>
                </a:cubicBezTo>
                <a:cubicBezTo>
                  <a:pt x="192567" y="278342"/>
                  <a:pt x="200769" y="139171"/>
                  <a:pt x="208971" y="0"/>
                </a:cubicBezTo>
              </a:path>
            </a:pathLst>
          </a:custGeom>
          <a:noFill/>
          <a:ln>
            <a:solidFill>
              <a:srgbClr val="00B05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C090A749-258B-4479-B7DC-52F9CFE791AA}"/>
              </a:ext>
            </a:extLst>
          </p:cNvPr>
          <p:cNvSpPr/>
          <p:nvPr/>
        </p:nvSpPr>
        <p:spPr>
          <a:xfrm>
            <a:off x="1826886" y="4276143"/>
            <a:ext cx="1603375" cy="393700"/>
          </a:xfrm>
          <a:custGeom>
            <a:avLst/>
            <a:gdLst>
              <a:gd name="connsiteX0" fmla="*/ 0 w 1603375"/>
              <a:gd name="connsiteY0" fmla="*/ 393700 h 393700"/>
              <a:gd name="connsiteX1" fmla="*/ 304800 w 1603375"/>
              <a:gd name="connsiteY1" fmla="*/ 327025 h 393700"/>
              <a:gd name="connsiteX2" fmla="*/ 631825 w 1603375"/>
              <a:gd name="connsiteY2" fmla="*/ 295275 h 393700"/>
              <a:gd name="connsiteX3" fmla="*/ 876300 w 1603375"/>
              <a:gd name="connsiteY3" fmla="*/ 244475 h 393700"/>
              <a:gd name="connsiteX4" fmla="*/ 1019175 w 1603375"/>
              <a:gd name="connsiteY4" fmla="*/ 168275 h 393700"/>
              <a:gd name="connsiteX5" fmla="*/ 1419225 w 1603375"/>
              <a:gd name="connsiteY5" fmla="*/ 53975 h 393700"/>
              <a:gd name="connsiteX6" fmla="*/ 1603375 w 1603375"/>
              <a:gd name="connsiteY6" fmla="*/ 0 h 39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03375" h="393700">
                <a:moveTo>
                  <a:pt x="0" y="393700"/>
                </a:moveTo>
                <a:cubicBezTo>
                  <a:pt x="99748" y="368564"/>
                  <a:pt x="199496" y="343429"/>
                  <a:pt x="304800" y="327025"/>
                </a:cubicBezTo>
                <a:cubicBezTo>
                  <a:pt x="410104" y="310621"/>
                  <a:pt x="536575" y="309033"/>
                  <a:pt x="631825" y="295275"/>
                </a:cubicBezTo>
                <a:cubicBezTo>
                  <a:pt x="727075" y="281517"/>
                  <a:pt x="811742" y="265642"/>
                  <a:pt x="876300" y="244475"/>
                </a:cubicBezTo>
                <a:cubicBezTo>
                  <a:pt x="940858" y="223308"/>
                  <a:pt x="928688" y="200025"/>
                  <a:pt x="1019175" y="168275"/>
                </a:cubicBezTo>
                <a:cubicBezTo>
                  <a:pt x="1109662" y="136525"/>
                  <a:pt x="1419225" y="53975"/>
                  <a:pt x="1419225" y="53975"/>
                </a:cubicBezTo>
                <a:lnTo>
                  <a:pt x="1603375" y="0"/>
                </a:lnTo>
              </a:path>
            </a:pathLst>
          </a:custGeom>
          <a:noFill/>
          <a:ln>
            <a:solidFill>
              <a:srgbClr val="00B05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A51CD0BA-2C1A-43D6-A6FE-B05715C4183C}"/>
              </a:ext>
            </a:extLst>
          </p:cNvPr>
          <p:cNvSpPr/>
          <p:nvPr/>
        </p:nvSpPr>
        <p:spPr>
          <a:xfrm>
            <a:off x="3179459" y="3742069"/>
            <a:ext cx="327385" cy="457874"/>
          </a:xfrm>
          <a:custGeom>
            <a:avLst/>
            <a:gdLst>
              <a:gd name="connsiteX0" fmla="*/ 88877 w 327385"/>
              <a:gd name="connsiteY0" fmla="*/ 105449 h 457874"/>
              <a:gd name="connsiteX1" fmla="*/ 9502 w 327385"/>
              <a:gd name="connsiteY1" fmla="*/ 26074 h 457874"/>
              <a:gd name="connsiteX2" fmla="*/ 282552 w 327385"/>
              <a:gd name="connsiteY2" fmla="*/ 38774 h 457874"/>
              <a:gd name="connsiteX3" fmla="*/ 323827 w 327385"/>
              <a:gd name="connsiteY3" fmla="*/ 457874 h 457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7385" h="457874">
                <a:moveTo>
                  <a:pt x="88877" y="105449"/>
                </a:moveTo>
                <a:cubicBezTo>
                  <a:pt x="33050" y="71317"/>
                  <a:pt x="-22777" y="37186"/>
                  <a:pt x="9502" y="26074"/>
                </a:cubicBezTo>
                <a:cubicBezTo>
                  <a:pt x="41781" y="14961"/>
                  <a:pt x="230165" y="-33193"/>
                  <a:pt x="282552" y="38774"/>
                </a:cubicBezTo>
                <a:cubicBezTo>
                  <a:pt x="334939" y="110741"/>
                  <a:pt x="329648" y="399666"/>
                  <a:pt x="323827" y="457874"/>
                </a:cubicBezTo>
              </a:path>
            </a:pathLst>
          </a:custGeom>
          <a:noFill/>
          <a:ln>
            <a:solidFill>
              <a:srgbClr val="00B05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E3059752-8F8D-40D1-AED7-8BAF4239D1D2}"/>
              </a:ext>
            </a:extLst>
          </p:cNvPr>
          <p:cNvSpPr/>
          <p:nvPr/>
        </p:nvSpPr>
        <p:spPr>
          <a:xfrm>
            <a:off x="3530273" y="3890059"/>
            <a:ext cx="2126063" cy="314643"/>
          </a:xfrm>
          <a:custGeom>
            <a:avLst/>
            <a:gdLst>
              <a:gd name="connsiteX0" fmla="*/ 0 w 2085975"/>
              <a:gd name="connsiteY0" fmla="*/ 314643 h 314643"/>
              <a:gd name="connsiteX1" fmla="*/ 152400 w 2085975"/>
              <a:gd name="connsiteY1" fmla="*/ 254318 h 314643"/>
              <a:gd name="connsiteX2" fmla="*/ 603250 w 2085975"/>
              <a:gd name="connsiteY2" fmla="*/ 213043 h 314643"/>
              <a:gd name="connsiteX3" fmla="*/ 1085850 w 2085975"/>
              <a:gd name="connsiteY3" fmla="*/ 159068 h 314643"/>
              <a:gd name="connsiteX4" fmla="*/ 1397000 w 2085975"/>
              <a:gd name="connsiteY4" fmla="*/ 114618 h 314643"/>
              <a:gd name="connsiteX5" fmla="*/ 1593850 w 2085975"/>
              <a:gd name="connsiteY5" fmla="*/ 54293 h 314643"/>
              <a:gd name="connsiteX6" fmla="*/ 1831975 w 2085975"/>
              <a:gd name="connsiteY6" fmla="*/ 35243 h 314643"/>
              <a:gd name="connsiteX7" fmla="*/ 2085975 w 2085975"/>
              <a:gd name="connsiteY7" fmla="*/ 318 h 314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85975" h="314643">
                <a:moveTo>
                  <a:pt x="0" y="314643"/>
                </a:moveTo>
                <a:cubicBezTo>
                  <a:pt x="25929" y="292947"/>
                  <a:pt x="51858" y="271251"/>
                  <a:pt x="152400" y="254318"/>
                </a:cubicBezTo>
                <a:cubicBezTo>
                  <a:pt x="252942" y="237385"/>
                  <a:pt x="603250" y="213043"/>
                  <a:pt x="603250" y="213043"/>
                </a:cubicBezTo>
                <a:lnTo>
                  <a:pt x="1085850" y="159068"/>
                </a:lnTo>
                <a:cubicBezTo>
                  <a:pt x="1218142" y="142664"/>
                  <a:pt x="1312333" y="132080"/>
                  <a:pt x="1397000" y="114618"/>
                </a:cubicBezTo>
                <a:cubicBezTo>
                  <a:pt x="1481667" y="97156"/>
                  <a:pt x="1521354" y="67522"/>
                  <a:pt x="1593850" y="54293"/>
                </a:cubicBezTo>
                <a:cubicBezTo>
                  <a:pt x="1666346" y="41064"/>
                  <a:pt x="1749954" y="44239"/>
                  <a:pt x="1831975" y="35243"/>
                </a:cubicBezTo>
                <a:cubicBezTo>
                  <a:pt x="1913996" y="26247"/>
                  <a:pt x="2065867" y="-3386"/>
                  <a:pt x="2085975" y="318"/>
                </a:cubicBezTo>
              </a:path>
            </a:pathLst>
          </a:custGeom>
          <a:noFill/>
          <a:ln>
            <a:solidFill>
              <a:srgbClr val="00B05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2918FAB0-2CFF-40C7-9F57-A16ED3CC782D}"/>
              </a:ext>
            </a:extLst>
          </p:cNvPr>
          <p:cNvSpPr/>
          <p:nvPr/>
        </p:nvSpPr>
        <p:spPr>
          <a:xfrm>
            <a:off x="4179561" y="3190293"/>
            <a:ext cx="1498600" cy="698500"/>
          </a:xfrm>
          <a:custGeom>
            <a:avLst/>
            <a:gdLst>
              <a:gd name="connsiteX0" fmla="*/ 0 w 1498600"/>
              <a:gd name="connsiteY0" fmla="*/ 0 h 698500"/>
              <a:gd name="connsiteX1" fmla="*/ 127000 w 1498600"/>
              <a:gd name="connsiteY1" fmla="*/ 98425 h 698500"/>
              <a:gd name="connsiteX2" fmla="*/ 368300 w 1498600"/>
              <a:gd name="connsiteY2" fmla="*/ 203200 h 698500"/>
              <a:gd name="connsiteX3" fmla="*/ 568325 w 1498600"/>
              <a:gd name="connsiteY3" fmla="*/ 276225 h 698500"/>
              <a:gd name="connsiteX4" fmla="*/ 727075 w 1498600"/>
              <a:gd name="connsiteY4" fmla="*/ 349250 h 698500"/>
              <a:gd name="connsiteX5" fmla="*/ 889000 w 1498600"/>
              <a:gd name="connsiteY5" fmla="*/ 450850 h 698500"/>
              <a:gd name="connsiteX6" fmla="*/ 1079500 w 1498600"/>
              <a:gd name="connsiteY6" fmla="*/ 533400 h 698500"/>
              <a:gd name="connsiteX7" fmla="*/ 1254125 w 1498600"/>
              <a:gd name="connsiteY7" fmla="*/ 596900 h 698500"/>
              <a:gd name="connsiteX8" fmla="*/ 1498600 w 1498600"/>
              <a:gd name="connsiteY8" fmla="*/ 698500 h 698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98600" h="698500">
                <a:moveTo>
                  <a:pt x="0" y="0"/>
                </a:moveTo>
                <a:cubicBezTo>
                  <a:pt x="32808" y="32279"/>
                  <a:pt x="65617" y="64558"/>
                  <a:pt x="127000" y="98425"/>
                </a:cubicBezTo>
                <a:cubicBezTo>
                  <a:pt x="188383" y="132292"/>
                  <a:pt x="294746" y="173567"/>
                  <a:pt x="368300" y="203200"/>
                </a:cubicBezTo>
                <a:cubicBezTo>
                  <a:pt x="441854" y="232833"/>
                  <a:pt x="508529" y="251883"/>
                  <a:pt x="568325" y="276225"/>
                </a:cubicBezTo>
                <a:cubicBezTo>
                  <a:pt x="628121" y="300567"/>
                  <a:pt x="673629" y="320146"/>
                  <a:pt x="727075" y="349250"/>
                </a:cubicBezTo>
                <a:cubicBezTo>
                  <a:pt x="780521" y="378354"/>
                  <a:pt x="830263" y="420158"/>
                  <a:pt x="889000" y="450850"/>
                </a:cubicBezTo>
                <a:cubicBezTo>
                  <a:pt x="947737" y="481542"/>
                  <a:pt x="1018646" y="509058"/>
                  <a:pt x="1079500" y="533400"/>
                </a:cubicBezTo>
                <a:cubicBezTo>
                  <a:pt x="1140354" y="557742"/>
                  <a:pt x="1184275" y="569383"/>
                  <a:pt x="1254125" y="596900"/>
                </a:cubicBezTo>
                <a:cubicBezTo>
                  <a:pt x="1323975" y="624417"/>
                  <a:pt x="1461558" y="681038"/>
                  <a:pt x="1498600" y="698500"/>
                </a:cubicBezTo>
              </a:path>
            </a:pathLst>
          </a:custGeom>
          <a:noFill/>
          <a:ln>
            <a:solidFill>
              <a:srgbClr val="00B05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33C9DC75-D965-430A-BE07-B1AA1C8F96DB}"/>
              </a:ext>
            </a:extLst>
          </p:cNvPr>
          <p:cNvSpPr/>
          <p:nvPr/>
        </p:nvSpPr>
        <p:spPr>
          <a:xfrm>
            <a:off x="6154880" y="1482143"/>
            <a:ext cx="285281" cy="679450"/>
          </a:xfrm>
          <a:custGeom>
            <a:avLst/>
            <a:gdLst>
              <a:gd name="connsiteX0" fmla="*/ 43981 w 285281"/>
              <a:gd name="connsiteY0" fmla="*/ 0 h 679450"/>
              <a:gd name="connsiteX1" fmla="*/ 18581 w 285281"/>
              <a:gd name="connsiteY1" fmla="*/ 244475 h 679450"/>
              <a:gd name="connsiteX2" fmla="*/ 285281 w 285281"/>
              <a:gd name="connsiteY2" fmla="*/ 679450 h 679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85281" h="679450">
                <a:moveTo>
                  <a:pt x="43981" y="0"/>
                </a:moveTo>
                <a:cubicBezTo>
                  <a:pt x="11172" y="65616"/>
                  <a:pt x="-21636" y="131233"/>
                  <a:pt x="18581" y="244475"/>
                </a:cubicBezTo>
                <a:cubicBezTo>
                  <a:pt x="58798" y="357717"/>
                  <a:pt x="247181" y="610658"/>
                  <a:pt x="285281" y="679450"/>
                </a:cubicBezTo>
              </a:path>
            </a:pathLst>
          </a:custGeom>
          <a:noFill/>
          <a:ln>
            <a:solidFill>
              <a:srgbClr val="00B05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442834D3-A197-400D-9CA0-50FB74AE89A7}"/>
              </a:ext>
            </a:extLst>
          </p:cNvPr>
          <p:cNvSpPr/>
          <p:nvPr/>
        </p:nvSpPr>
        <p:spPr>
          <a:xfrm>
            <a:off x="7875261" y="4184017"/>
            <a:ext cx="904875" cy="444551"/>
          </a:xfrm>
          <a:custGeom>
            <a:avLst/>
            <a:gdLst>
              <a:gd name="connsiteX0" fmla="*/ 0 w 904875"/>
              <a:gd name="connsiteY0" fmla="*/ 28626 h 444551"/>
              <a:gd name="connsiteX1" fmla="*/ 111125 w 904875"/>
              <a:gd name="connsiteY1" fmla="*/ 19101 h 444551"/>
              <a:gd name="connsiteX2" fmla="*/ 203200 w 904875"/>
              <a:gd name="connsiteY2" fmla="*/ 3226 h 444551"/>
              <a:gd name="connsiteX3" fmla="*/ 269875 w 904875"/>
              <a:gd name="connsiteY3" fmla="*/ 88951 h 444551"/>
              <a:gd name="connsiteX4" fmla="*/ 371475 w 904875"/>
              <a:gd name="connsiteY4" fmla="*/ 139751 h 444551"/>
              <a:gd name="connsiteX5" fmla="*/ 527050 w 904875"/>
              <a:gd name="connsiteY5" fmla="*/ 219126 h 444551"/>
              <a:gd name="connsiteX6" fmla="*/ 660400 w 904875"/>
              <a:gd name="connsiteY6" fmla="*/ 282626 h 444551"/>
              <a:gd name="connsiteX7" fmla="*/ 749300 w 904875"/>
              <a:gd name="connsiteY7" fmla="*/ 349301 h 444551"/>
              <a:gd name="connsiteX8" fmla="*/ 822325 w 904875"/>
              <a:gd name="connsiteY8" fmla="*/ 403276 h 444551"/>
              <a:gd name="connsiteX9" fmla="*/ 904875 w 904875"/>
              <a:gd name="connsiteY9" fmla="*/ 444551 h 444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04875" h="444551">
                <a:moveTo>
                  <a:pt x="0" y="28626"/>
                </a:moveTo>
                <a:cubicBezTo>
                  <a:pt x="38629" y="25980"/>
                  <a:pt x="77258" y="23334"/>
                  <a:pt x="111125" y="19101"/>
                </a:cubicBezTo>
                <a:cubicBezTo>
                  <a:pt x="144992" y="14868"/>
                  <a:pt x="176742" y="-8416"/>
                  <a:pt x="203200" y="3226"/>
                </a:cubicBezTo>
                <a:cubicBezTo>
                  <a:pt x="229658" y="14868"/>
                  <a:pt x="241829" y="66197"/>
                  <a:pt x="269875" y="88951"/>
                </a:cubicBezTo>
                <a:cubicBezTo>
                  <a:pt x="297921" y="111705"/>
                  <a:pt x="371475" y="139751"/>
                  <a:pt x="371475" y="139751"/>
                </a:cubicBezTo>
                <a:lnTo>
                  <a:pt x="527050" y="219126"/>
                </a:lnTo>
                <a:cubicBezTo>
                  <a:pt x="575204" y="242938"/>
                  <a:pt x="623358" y="260930"/>
                  <a:pt x="660400" y="282626"/>
                </a:cubicBezTo>
                <a:cubicBezTo>
                  <a:pt x="697442" y="304322"/>
                  <a:pt x="749300" y="349301"/>
                  <a:pt x="749300" y="349301"/>
                </a:cubicBezTo>
                <a:cubicBezTo>
                  <a:pt x="776288" y="369409"/>
                  <a:pt x="796396" y="387401"/>
                  <a:pt x="822325" y="403276"/>
                </a:cubicBezTo>
                <a:cubicBezTo>
                  <a:pt x="848254" y="419151"/>
                  <a:pt x="876564" y="431851"/>
                  <a:pt x="904875" y="444551"/>
                </a:cubicBezTo>
              </a:path>
            </a:pathLst>
          </a:custGeom>
          <a:noFill/>
          <a:ln>
            <a:solidFill>
              <a:srgbClr val="00B05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253D23EE-FB21-48CD-AF1A-D89B12BF5BCD}"/>
              </a:ext>
            </a:extLst>
          </p:cNvPr>
          <p:cNvSpPr/>
          <p:nvPr/>
        </p:nvSpPr>
        <p:spPr>
          <a:xfrm>
            <a:off x="5743249" y="3946738"/>
            <a:ext cx="2004192" cy="268427"/>
          </a:xfrm>
          <a:custGeom>
            <a:avLst/>
            <a:gdLst>
              <a:gd name="connsiteX0" fmla="*/ 0 w 1971675"/>
              <a:gd name="connsiteY0" fmla="*/ 0 h 269875"/>
              <a:gd name="connsiteX1" fmla="*/ 457200 w 1971675"/>
              <a:gd name="connsiteY1" fmla="*/ 114300 h 269875"/>
              <a:gd name="connsiteX2" fmla="*/ 733425 w 1971675"/>
              <a:gd name="connsiteY2" fmla="*/ 107950 h 269875"/>
              <a:gd name="connsiteX3" fmla="*/ 1050925 w 1971675"/>
              <a:gd name="connsiteY3" fmla="*/ 127000 h 269875"/>
              <a:gd name="connsiteX4" fmla="*/ 1431925 w 1971675"/>
              <a:gd name="connsiteY4" fmla="*/ 130175 h 269875"/>
              <a:gd name="connsiteX5" fmla="*/ 1584325 w 1971675"/>
              <a:gd name="connsiteY5" fmla="*/ 136525 h 269875"/>
              <a:gd name="connsiteX6" fmla="*/ 1749425 w 1971675"/>
              <a:gd name="connsiteY6" fmla="*/ 184150 h 269875"/>
              <a:gd name="connsiteX7" fmla="*/ 1971675 w 1971675"/>
              <a:gd name="connsiteY7" fmla="*/ 269875 h 269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71675" h="269875">
                <a:moveTo>
                  <a:pt x="0" y="0"/>
                </a:moveTo>
                <a:cubicBezTo>
                  <a:pt x="167481" y="48154"/>
                  <a:pt x="334963" y="96308"/>
                  <a:pt x="457200" y="114300"/>
                </a:cubicBezTo>
                <a:cubicBezTo>
                  <a:pt x="579437" y="132292"/>
                  <a:pt x="634471" y="105833"/>
                  <a:pt x="733425" y="107950"/>
                </a:cubicBezTo>
                <a:cubicBezTo>
                  <a:pt x="832379" y="110067"/>
                  <a:pt x="934508" y="123296"/>
                  <a:pt x="1050925" y="127000"/>
                </a:cubicBezTo>
                <a:cubicBezTo>
                  <a:pt x="1167342" y="130704"/>
                  <a:pt x="1343025" y="128588"/>
                  <a:pt x="1431925" y="130175"/>
                </a:cubicBezTo>
                <a:cubicBezTo>
                  <a:pt x="1520825" y="131762"/>
                  <a:pt x="1531408" y="127529"/>
                  <a:pt x="1584325" y="136525"/>
                </a:cubicBezTo>
                <a:cubicBezTo>
                  <a:pt x="1637242" y="145521"/>
                  <a:pt x="1684867" y="161925"/>
                  <a:pt x="1749425" y="184150"/>
                </a:cubicBezTo>
                <a:cubicBezTo>
                  <a:pt x="1813983" y="206375"/>
                  <a:pt x="1892829" y="238125"/>
                  <a:pt x="1971675" y="269875"/>
                </a:cubicBezTo>
              </a:path>
            </a:pathLst>
          </a:custGeom>
          <a:noFill/>
          <a:ln>
            <a:solidFill>
              <a:srgbClr val="00B05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32654096-A14C-4807-9298-B3A66D0B1C87}"/>
              </a:ext>
            </a:extLst>
          </p:cNvPr>
          <p:cNvSpPr/>
          <p:nvPr/>
        </p:nvSpPr>
        <p:spPr>
          <a:xfrm>
            <a:off x="8807124" y="3965787"/>
            <a:ext cx="232491" cy="659606"/>
          </a:xfrm>
          <a:custGeom>
            <a:avLst/>
            <a:gdLst>
              <a:gd name="connsiteX0" fmla="*/ 216693 w 232491"/>
              <a:gd name="connsiteY0" fmla="*/ 0 h 659606"/>
              <a:gd name="connsiteX1" fmla="*/ 228600 w 232491"/>
              <a:gd name="connsiteY1" fmla="*/ 264319 h 659606"/>
              <a:gd name="connsiteX2" fmla="*/ 157162 w 232491"/>
              <a:gd name="connsiteY2" fmla="*/ 397669 h 659606"/>
              <a:gd name="connsiteX3" fmla="*/ 59531 w 232491"/>
              <a:gd name="connsiteY3" fmla="*/ 538162 h 659606"/>
              <a:gd name="connsiteX4" fmla="*/ 0 w 232491"/>
              <a:gd name="connsiteY4" fmla="*/ 659606 h 659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2491" h="659606">
                <a:moveTo>
                  <a:pt x="216693" y="0"/>
                </a:moveTo>
                <a:cubicBezTo>
                  <a:pt x="227607" y="99020"/>
                  <a:pt x="238522" y="198041"/>
                  <a:pt x="228600" y="264319"/>
                </a:cubicBezTo>
                <a:cubicBezTo>
                  <a:pt x="218678" y="330597"/>
                  <a:pt x="185340" y="352029"/>
                  <a:pt x="157162" y="397669"/>
                </a:cubicBezTo>
                <a:cubicBezTo>
                  <a:pt x="128984" y="443309"/>
                  <a:pt x="85725" y="494506"/>
                  <a:pt x="59531" y="538162"/>
                </a:cubicBezTo>
                <a:cubicBezTo>
                  <a:pt x="33337" y="581818"/>
                  <a:pt x="7144" y="640159"/>
                  <a:pt x="0" y="659606"/>
                </a:cubicBezTo>
              </a:path>
            </a:pathLst>
          </a:custGeom>
          <a:noFill/>
          <a:ln>
            <a:solidFill>
              <a:srgbClr val="00B05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D3BE956C-D30F-490D-9B38-FAFB4F171691}"/>
              </a:ext>
            </a:extLst>
          </p:cNvPr>
          <p:cNvSpPr/>
          <p:nvPr/>
        </p:nvSpPr>
        <p:spPr>
          <a:xfrm>
            <a:off x="8745211" y="4684924"/>
            <a:ext cx="45244" cy="92869"/>
          </a:xfrm>
          <a:custGeom>
            <a:avLst/>
            <a:gdLst>
              <a:gd name="connsiteX0" fmla="*/ 45244 w 45244"/>
              <a:gd name="connsiteY0" fmla="*/ 0 h 92869"/>
              <a:gd name="connsiteX1" fmla="*/ 33338 w 45244"/>
              <a:gd name="connsiteY1" fmla="*/ 54769 h 92869"/>
              <a:gd name="connsiteX2" fmla="*/ 0 w 45244"/>
              <a:gd name="connsiteY2" fmla="*/ 92869 h 92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5244" h="92869">
                <a:moveTo>
                  <a:pt x="45244" y="0"/>
                </a:moveTo>
                <a:cubicBezTo>
                  <a:pt x="43061" y="19645"/>
                  <a:pt x="40879" y="39291"/>
                  <a:pt x="33338" y="54769"/>
                </a:cubicBezTo>
                <a:cubicBezTo>
                  <a:pt x="25797" y="70247"/>
                  <a:pt x="12898" y="81558"/>
                  <a:pt x="0" y="92869"/>
                </a:cubicBezTo>
              </a:path>
            </a:pathLst>
          </a:custGeom>
          <a:noFill/>
          <a:ln>
            <a:solidFill>
              <a:srgbClr val="00B05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82E13E4E-A7AC-4C44-8339-6C88F388FE9F}"/>
              </a:ext>
            </a:extLst>
          </p:cNvPr>
          <p:cNvSpPr/>
          <p:nvPr/>
        </p:nvSpPr>
        <p:spPr>
          <a:xfrm>
            <a:off x="8807124" y="4708737"/>
            <a:ext cx="45244" cy="92869"/>
          </a:xfrm>
          <a:custGeom>
            <a:avLst/>
            <a:gdLst>
              <a:gd name="connsiteX0" fmla="*/ 45244 w 45244"/>
              <a:gd name="connsiteY0" fmla="*/ 0 h 92869"/>
              <a:gd name="connsiteX1" fmla="*/ 33338 w 45244"/>
              <a:gd name="connsiteY1" fmla="*/ 54769 h 92869"/>
              <a:gd name="connsiteX2" fmla="*/ 0 w 45244"/>
              <a:gd name="connsiteY2" fmla="*/ 92869 h 92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5244" h="92869">
                <a:moveTo>
                  <a:pt x="45244" y="0"/>
                </a:moveTo>
                <a:cubicBezTo>
                  <a:pt x="43061" y="19645"/>
                  <a:pt x="40879" y="39291"/>
                  <a:pt x="33338" y="54769"/>
                </a:cubicBezTo>
                <a:cubicBezTo>
                  <a:pt x="25797" y="70247"/>
                  <a:pt x="12898" y="81558"/>
                  <a:pt x="0" y="92869"/>
                </a:cubicBezTo>
              </a:path>
            </a:pathLst>
          </a:custGeom>
          <a:noFill/>
          <a:ln>
            <a:solidFill>
              <a:srgbClr val="00B05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1832D380-18DC-4F32-8CD3-A2844C2F7FA0}"/>
              </a:ext>
            </a:extLst>
          </p:cNvPr>
          <p:cNvSpPr/>
          <p:nvPr/>
        </p:nvSpPr>
        <p:spPr>
          <a:xfrm>
            <a:off x="8976192" y="5482643"/>
            <a:ext cx="621507" cy="838200"/>
          </a:xfrm>
          <a:custGeom>
            <a:avLst/>
            <a:gdLst>
              <a:gd name="connsiteX0" fmla="*/ 683419 w 683419"/>
              <a:gd name="connsiteY0" fmla="*/ 0 h 942975"/>
              <a:gd name="connsiteX1" fmla="*/ 621507 w 683419"/>
              <a:gd name="connsiteY1" fmla="*/ 104775 h 942975"/>
              <a:gd name="connsiteX2" fmla="*/ 592932 w 683419"/>
              <a:gd name="connsiteY2" fmla="*/ 245269 h 942975"/>
              <a:gd name="connsiteX3" fmla="*/ 554832 w 683419"/>
              <a:gd name="connsiteY3" fmla="*/ 371475 h 942975"/>
              <a:gd name="connsiteX4" fmla="*/ 526257 w 683419"/>
              <a:gd name="connsiteY4" fmla="*/ 504825 h 942975"/>
              <a:gd name="connsiteX5" fmla="*/ 438150 w 683419"/>
              <a:gd name="connsiteY5" fmla="*/ 619125 h 942975"/>
              <a:gd name="connsiteX6" fmla="*/ 323850 w 683419"/>
              <a:gd name="connsiteY6" fmla="*/ 697706 h 942975"/>
              <a:gd name="connsiteX7" fmla="*/ 138113 w 683419"/>
              <a:gd name="connsiteY7" fmla="*/ 814388 h 942975"/>
              <a:gd name="connsiteX8" fmla="*/ 40482 w 683419"/>
              <a:gd name="connsiteY8" fmla="*/ 866775 h 942975"/>
              <a:gd name="connsiteX9" fmla="*/ 0 w 683419"/>
              <a:gd name="connsiteY9" fmla="*/ 942975 h 942975"/>
              <a:gd name="connsiteX0" fmla="*/ 711994 w 711994"/>
              <a:gd name="connsiteY0" fmla="*/ 0 h 988218"/>
              <a:gd name="connsiteX1" fmla="*/ 621507 w 711994"/>
              <a:gd name="connsiteY1" fmla="*/ 150018 h 988218"/>
              <a:gd name="connsiteX2" fmla="*/ 592932 w 711994"/>
              <a:gd name="connsiteY2" fmla="*/ 290512 h 988218"/>
              <a:gd name="connsiteX3" fmla="*/ 554832 w 711994"/>
              <a:gd name="connsiteY3" fmla="*/ 416718 h 988218"/>
              <a:gd name="connsiteX4" fmla="*/ 526257 w 711994"/>
              <a:gd name="connsiteY4" fmla="*/ 550068 h 988218"/>
              <a:gd name="connsiteX5" fmla="*/ 438150 w 711994"/>
              <a:gd name="connsiteY5" fmla="*/ 664368 h 988218"/>
              <a:gd name="connsiteX6" fmla="*/ 323850 w 711994"/>
              <a:gd name="connsiteY6" fmla="*/ 742949 h 988218"/>
              <a:gd name="connsiteX7" fmla="*/ 138113 w 711994"/>
              <a:gd name="connsiteY7" fmla="*/ 859631 h 988218"/>
              <a:gd name="connsiteX8" fmla="*/ 40482 w 711994"/>
              <a:gd name="connsiteY8" fmla="*/ 912018 h 988218"/>
              <a:gd name="connsiteX9" fmla="*/ 0 w 711994"/>
              <a:gd name="connsiteY9" fmla="*/ 988218 h 988218"/>
              <a:gd name="connsiteX0" fmla="*/ 621507 w 621507"/>
              <a:gd name="connsiteY0" fmla="*/ 0 h 838200"/>
              <a:gd name="connsiteX1" fmla="*/ 592932 w 621507"/>
              <a:gd name="connsiteY1" fmla="*/ 140494 h 838200"/>
              <a:gd name="connsiteX2" fmla="*/ 554832 w 621507"/>
              <a:gd name="connsiteY2" fmla="*/ 266700 h 838200"/>
              <a:gd name="connsiteX3" fmla="*/ 526257 w 621507"/>
              <a:gd name="connsiteY3" fmla="*/ 400050 h 838200"/>
              <a:gd name="connsiteX4" fmla="*/ 438150 w 621507"/>
              <a:gd name="connsiteY4" fmla="*/ 514350 h 838200"/>
              <a:gd name="connsiteX5" fmla="*/ 323850 w 621507"/>
              <a:gd name="connsiteY5" fmla="*/ 592931 h 838200"/>
              <a:gd name="connsiteX6" fmla="*/ 138113 w 621507"/>
              <a:gd name="connsiteY6" fmla="*/ 709613 h 838200"/>
              <a:gd name="connsiteX7" fmla="*/ 40482 w 621507"/>
              <a:gd name="connsiteY7" fmla="*/ 762000 h 838200"/>
              <a:gd name="connsiteX8" fmla="*/ 0 w 621507"/>
              <a:gd name="connsiteY8" fmla="*/ 838200 h 838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21507" h="838200">
                <a:moveTo>
                  <a:pt x="621507" y="0"/>
                </a:moveTo>
                <a:cubicBezTo>
                  <a:pt x="601663" y="48419"/>
                  <a:pt x="604045" y="96044"/>
                  <a:pt x="592932" y="140494"/>
                </a:cubicBezTo>
                <a:cubicBezTo>
                  <a:pt x="581819" y="184944"/>
                  <a:pt x="565945" y="223441"/>
                  <a:pt x="554832" y="266700"/>
                </a:cubicBezTo>
                <a:cubicBezTo>
                  <a:pt x="543719" y="309959"/>
                  <a:pt x="545704" y="358775"/>
                  <a:pt x="526257" y="400050"/>
                </a:cubicBezTo>
                <a:cubicBezTo>
                  <a:pt x="506810" y="441325"/>
                  <a:pt x="471884" y="482203"/>
                  <a:pt x="438150" y="514350"/>
                </a:cubicBezTo>
                <a:cubicBezTo>
                  <a:pt x="404416" y="546497"/>
                  <a:pt x="373856" y="560387"/>
                  <a:pt x="323850" y="592931"/>
                </a:cubicBezTo>
                <a:cubicBezTo>
                  <a:pt x="273844" y="625475"/>
                  <a:pt x="185341" y="681435"/>
                  <a:pt x="138113" y="709613"/>
                </a:cubicBezTo>
                <a:cubicBezTo>
                  <a:pt x="90885" y="737791"/>
                  <a:pt x="63501" y="740569"/>
                  <a:pt x="40482" y="762000"/>
                </a:cubicBezTo>
                <a:cubicBezTo>
                  <a:pt x="17463" y="783431"/>
                  <a:pt x="6747" y="828278"/>
                  <a:pt x="0" y="838200"/>
                </a:cubicBezTo>
              </a:path>
            </a:pathLst>
          </a:custGeom>
          <a:noFill/>
          <a:ln>
            <a:solidFill>
              <a:srgbClr val="00B05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FEC12E3F-4C1B-4512-88B3-874CA7256EF8}"/>
              </a:ext>
            </a:extLst>
          </p:cNvPr>
          <p:cNvSpPr/>
          <p:nvPr/>
        </p:nvSpPr>
        <p:spPr>
          <a:xfrm>
            <a:off x="3533832" y="3944829"/>
            <a:ext cx="2147292" cy="314643"/>
          </a:xfrm>
          <a:custGeom>
            <a:avLst/>
            <a:gdLst>
              <a:gd name="connsiteX0" fmla="*/ 0 w 2085975"/>
              <a:gd name="connsiteY0" fmla="*/ 314643 h 314643"/>
              <a:gd name="connsiteX1" fmla="*/ 152400 w 2085975"/>
              <a:gd name="connsiteY1" fmla="*/ 254318 h 314643"/>
              <a:gd name="connsiteX2" fmla="*/ 603250 w 2085975"/>
              <a:gd name="connsiteY2" fmla="*/ 213043 h 314643"/>
              <a:gd name="connsiteX3" fmla="*/ 1085850 w 2085975"/>
              <a:gd name="connsiteY3" fmla="*/ 159068 h 314643"/>
              <a:gd name="connsiteX4" fmla="*/ 1397000 w 2085975"/>
              <a:gd name="connsiteY4" fmla="*/ 114618 h 314643"/>
              <a:gd name="connsiteX5" fmla="*/ 1593850 w 2085975"/>
              <a:gd name="connsiteY5" fmla="*/ 54293 h 314643"/>
              <a:gd name="connsiteX6" fmla="*/ 1831975 w 2085975"/>
              <a:gd name="connsiteY6" fmla="*/ 35243 h 314643"/>
              <a:gd name="connsiteX7" fmla="*/ 2085975 w 2085975"/>
              <a:gd name="connsiteY7" fmla="*/ 318 h 314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85975" h="314643">
                <a:moveTo>
                  <a:pt x="0" y="314643"/>
                </a:moveTo>
                <a:cubicBezTo>
                  <a:pt x="25929" y="292947"/>
                  <a:pt x="51858" y="271251"/>
                  <a:pt x="152400" y="254318"/>
                </a:cubicBezTo>
                <a:cubicBezTo>
                  <a:pt x="252942" y="237385"/>
                  <a:pt x="603250" y="213043"/>
                  <a:pt x="603250" y="213043"/>
                </a:cubicBezTo>
                <a:lnTo>
                  <a:pt x="1085850" y="159068"/>
                </a:lnTo>
                <a:cubicBezTo>
                  <a:pt x="1218142" y="142664"/>
                  <a:pt x="1312333" y="132080"/>
                  <a:pt x="1397000" y="114618"/>
                </a:cubicBezTo>
                <a:cubicBezTo>
                  <a:pt x="1481667" y="97156"/>
                  <a:pt x="1521354" y="67522"/>
                  <a:pt x="1593850" y="54293"/>
                </a:cubicBezTo>
                <a:cubicBezTo>
                  <a:pt x="1666346" y="41064"/>
                  <a:pt x="1749954" y="44239"/>
                  <a:pt x="1831975" y="35243"/>
                </a:cubicBezTo>
                <a:cubicBezTo>
                  <a:pt x="1913996" y="26247"/>
                  <a:pt x="2065867" y="-3386"/>
                  <a:pt x="2085975" y="318"/>
                </a:cubicBezTo>
              </a:path>
            </a:pathLst>
          </a:custGeom>
          <a:noFill/>
          <a:ln>
            <a:solidFill>
              <a:srgbClr val="00B05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3FA75876-DA7F-4912-930F-8F0B1C7E55E8}"/>
              </a:ext>
            </a:extLst>
          </p:cNvPr>
          <p:cNvSpPr/>
          <p:nvPr/>
        </p:nvSpPr>
        <p:spPr>
          <a:xfrm>
            <a:off x="8911899" y="3844343"/>
            <a:ext cx="114300" cy="133350"/>
          </a:xfrm>
          <a:custGeom>
            <a:avLst/>
            <a:gdLst>
              <a:gd name="connsiteX0" fmla="*/ 0 w 114300"/>
              <a:gd name="connsiteY0" fmla="*/ 0 h 133350"/>
              <a:gd name="connsiteX1" fmla="*/ 52387 w 114300"/>
              <a:gd name="connsiteY1" fmla="*/ 42863 h 133350"/>
              <a:gd name="connsiteX2" fmla="*/ 114300 w 114300"/>
              <a:gd name="connsiteY2" fmla="*/ 133350 h 133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4300" h="133350">
                <a:moveTo>
                  <a:pt x="0" y="0"/>
                </a:moveTo>
                <a:cubicBezTo>
                  <a:pt x="16668" y="10319"/>
                  <a:pt x="33337" y="20638"/>
                  <a:pt x="52387" y="42863"/>
                </a:cubicBezTo>
                <a:cubicBezTo>
                  <a:pt x="71437" y="65088"/>
                  <a:pt x="92868" y="99219"/>
                  <a:pt x="114300" y="133350"/>
                </a:cubicBezTo>
              </a:path>
            </a:pathLst>
          </a:custGeom>
          <a:noFill/>
          <a:ln>
            <a:solidFill>
              <a:srgbClr val="00B05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85528C0D-0063-4225-BE90-AA3CEC5565AE}"/>
              </a:ext>
            </a:extLst>
          </p:cNvPr>
          <p:cNvSpPr txBox="1"/>
          <p:nvPr/>
        </p:nvSpPr>
        <p:spPr bwMode="auto">
          <a:xfrm>
            <a:off x="5513459" y="1343740"/>
            <a:ext cx="744025" cy="13593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Pct val="85000"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Egbema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 MF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7501942-8C19-4F6F-8470-77068C159C9A}"/>
              </a:ext>
            </a:extLst>
          </p:cNvPr>
          <p:cNvSpPr txBox="1"/>
          <p:nvPr/>
        </p:nvSpPr>
        <p:spPr bwMode="auto">
          <a:xfrm>
            <a:off x="5655627" y="2092969"/>
            <a:ext cx="744025" cy="1508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Pct val="85000"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Assa MF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34383BF3-B8F4-433E-A42F-E0625192D769}"/>
              </a:ext>
            </a:extLst>
          </p:cNvPr>
          <p:cNvSpPr txBox="1"/>
          <p:nvPr/>
        </p:nvSpPr>
        <p:spPr bwMode="auto">
          <a:xfrm>
            <a:off x="5733947" y="3712878"/>
            <a:ext cx="744025" cy="1508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Pct val="85000"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Rumuekpe MF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3B04584-8166-435E-A417-99DAFC4FE625}"/>
              </a:ext>
            </a:extLst>
          </p:cNvPr>
          <p:cNvSpPr txBox="1"/>
          <p:nvPr/>
        </p:nvSpPr>
        <p:spPr bwMode="auto">
          <a:xfrm>
            <a:off x="3697672" y="3277404"/>
            <a:ext cx="744025" cy="1508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Pct val="85000"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Okordia MF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F5717BDE-35EC-4FBF-87B8-15AC9FF6A797}"/>
              </a:ext>
            </a:extLst>
          </p:cNvPr>
          <p:cNvSpPr txBox="1"/>
          <p:nvPr/>
        </p:nvSpPr>
        <p:spPr bwMode="auto">
          <a:xfrm>
            <a:off x="2814241" y="3955169"/>
            <a:ext cx="744025" cy="13593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Pct val="85000"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Gbaran GP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948A75C8-58BF-439E-B9F7-7CD2EFEAC560}"/>
              </a:ext>
            </a:extLst>
          </p:cNvPr>
          <p:cNvSpPr txBox="1"/>
          <p:nvPr/>
        </p:nvSpPr>
        <p:spPr bwMode="auto">
          <a:xfrm>
            <a:off x="3123335" y="4314989"/>
            <a:ext cx="744025" cy="13593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Pct val="85000"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Kolo Creek MF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D522262-1A87-4226-B977-E56D94784E1C}"/>
              </a:ext>
            </a:extLst>
          </p:cNvPr>
          <p:cNvSpPr txBox="1"/>
          <p:nvPr/>
        </p:nvSpPr>
        <p:spPr bwMode="auto">
          <a:xfrm>
            <a:off x="1025748" y="4609518"/>
            <a:ext cx="744025" cy="1508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Pct val="85000"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Nun River MF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21BAD147-77D4-4053-9686-023868CC9ADC}"/>
              </a:ext>
            </a:extLst>
          </p:cNvPr>
          <p:cNvSpPr txBox="1"/>
          <p:nvPr/>
        </p:nvSpPr>
        <p:spPr bwMode="auto">
          <a:xfrm>
            <a:off x="886217" y="5132176"/>
            <a:ext cx="744025" cy="13593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Pct val="85000"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Diebu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 Creek MF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30DC243-EEA7-49AC-A907-8500D303C16F}"/>
              </a:ext>
            </a:extLst>
          </p:cNvPr>
          <p:cNvSpPr txBox="1"/>
          <p:nvPr/>
        </p:nvSpPr>
        <p:spPr bwMode="auto">
          <a:xfrm>
            <a:off x="7452439" y="4265687"/>
            <a:ext cx="425606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3577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Pct val="85000"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Nkpoku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 MF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B4EFD5E-1C6C-4D83-892F-211D6F5CDEDA}"/>
              </a:ext>
            </a:extLst>
          </p:cNvPr>
          <p:cNvSpPr txBox="1"/>
          <p:nvPr/>
        </p:nvSpPr>
        <p:spPr bwMode="auto">
          <a:xfrm>
            <a:off x="8856883" y="3649042"/>
            <a:ext cx="773508" cy="13593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Pct val="85000"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Imo River II MF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7F7FF32F-C9A5-4D38-9140-C09575F3EB82}"/>
              </a:ext>
            </a:extLst>
          </p:cNvPr>
          <p:cNvSpPr txBox="1"/>
          <p:nvPr/>
        </p:nvSpPr>
        <p:spPr bwMode="auto">
          <a:xfrm>
            <a:off x="9059038" y="3855557"/>
            <a:ext cx="694153" cy="13593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Pct val="85000"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Imo River I MF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AE09E612-2EFB-4EE1-9A8B-21937C456FB1}"/>
              </a:ext>
            </a:extLst>
          </p:cNvPr>
          <p:cNvSpPr txBox="1"/>
          <p:nvPr/>
        </p:nvSpPr>
        <p:spPr bwMode="auto">
          <a:xfrm>
            <a:off x="8457733" y="4948666"/>
            <a:ext cx="744025" cy="13593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Pct val="85000"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Ebubu MF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DC21D8DE-0D93-467E-B340-22AF210EA93A}"/>
              </a:ext>
            </a:extLst>
          </p:cNvPr>
          <p:cNvSpPr txBox="1"/>
          <p:nvPr/>
        </p:nvSpPr>
        <p:spPr bwMode="auto">
          <a:xfrm>
            <a:off x="1496815" y="4936838"/>
            <a:ext cx="744025" cy="971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Pct val="85000"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10”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BAA46A15-88EF-489E-B401-24238A8BAF9B}"/>
              </a:ext>
            </a:extLst>
          </p:cNvPr>
          <p:cNvSpPr txBox="1"/>
          <p:nvPr/>
        </p:nvSpPr>
        <p:spPr bwMode="auto">
          <a:xfrm>
            <a:off x="2221891" y="4412642"/>
            <a:ext cx="744025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Pct val="85000"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16”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EE94A5C-8260-43CD-9482-D46947D3ADC3}"/>
              </a:ext>
            </a:extLst>
          </p:cNvPr>
          <p:cNvSpPr txBox="1"/>
          <p:nvPr/>
        </p:nvSpPr>
        <p:spPr bwMode="auto">
          <a:xfrm>
            <a:off x="4287746" y="4122785"/>
            <a:ext cx="744025" cy="971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Pct val="85000"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20”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8F0F71F7-C5DB-45A6-B1C5-047E3F3093CF}"/>
              </a:ext>
            </a:extLst>
          </p:cNvPr>
          <p:cNvSpPr txBox="1"/>
          <p:nvPr/>
        </p:nvSpPr>
        <p:spPr bwMode="auto">
          <a:xfrm>
            <a:off x="4209161" y="3941353"/>
            <a:ext cx="744025" cy="971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Pct val="85000"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20”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B371F5F7-5849-4F42-B15F-36D2D768A9BF}"/>
              </a:ext>
            </a:extLst>
          </p:cNvPr>
          <p:cNvSpPr txBox="1"/>
          <p:nvPr/>
        </p:nvSpPr>
        <p:spPr bwMode="auto">
          <a:xfrm>
            <a:off x="3158260" y="3696964"/>
            <a:ext cx="744025" cy="971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Pct val="85000"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18”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A00B6068-ACBE-4643-A72C-6871EB169119}"/>
              </a:ext>
            </a:extLst>
          </p:cNvPr>
          <p:cNvSpPr txBox="1"/>
          <p:nvPr/>
        </p:nvSpPr>
        <p:spPr bwMode="auto">
          <a:xfrm>
            <a:off x="4521329" y="3566322"/>
            <a:ext cx="744025" cy="971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Pct val="85000"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14”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C0C82F52-AD21-4163-A559-339F2290010B}"/>
              </a:ext>
            </a:extLst>
          </p:cNvPr>
          <p:cNvSpPr txBox="1"/>
          <p:nvPr/>
        </p:nvSpPr>
        <p:spPr bwMode="auto">
          <a:xfrm>
            <a:off x="5925507" y="2914662"/>
            <a:ext cx="744025" cy="971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Pct val="85000"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18”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560302BA-4C2F-4C56-88EC-10DD663F0386}"/>
              </a:ext>
            </a:extLst>
          </p:cNvPr>
          <p:cNvSpPr txBox="1"/>
          <p:nvPr/>
        </p:nvSpPr>
        <p:spPr bwMode="auto">
          <a:xfrm>
            <a:off x="5952238" y="1753999"/>
            <a:ext cx="744025" cy="971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Pct val="85000"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16”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5FF0443D-E933-4AE1-850E-1AB7FA3AAABC}"/>
              </a:ext>
            </a:extLst>
          </p:cNvPr>
          <p:cNvSpPr/>
          <p:nvPr/>
        </p:nvSpPr>
        <p:spPr>
          <a:xfrm>
            <a:off x="5772527" y="3902929"/>
            <a:ext cx="2004192" cy="268427"/>
          </a:xfrm>
          <a:custGeom>
            <a:avLst/>
            <a:gdLst>
              <a:gd name="connsiteX0" fmla="*/ 0 w 1971675"/>
              <a:gd name="connsiteY0" fmla="*/ 0 h 269875"/>
              <a:gd name="connsiteX1" fmla="*/ 457200 w 1971675"/>
              <a:gd name="connsiteY1" fmla="*/ 114300 h 269875"/>
              <a:gd name="connsiteX2" fmla="*/ 733425 w 1971675"/>
              <a:gd name="connsiteY2" fmla="*/ 107950 h 269875"/>
              <a:gd name="connsiteX3" fmla="*/ 1050925 w 1971675"/>
              <a:gd name="connsiteY3" fmla="*/ 127000 h 269875"/>
              <a:gd name="connsiteX4" fmla="*/ 1431925 w 1971675"/>
              <a:gd name="connsiteY4" fmla="*/ 130175 h 269875"/>
              <a:gd name="connsiteX5" fmla="*/ 1584325 w 1971675"/>
              <a:gd name="connsiteY5" fmla="*/ 136525 h 269875"/>
              <a:gd name="connsiteX6" fmla="*/ 1749425 w 1971675"/>
              <a:gd name="connsiteY6" fmla="*/ 184150 h 269875"/>
              <a:gd name="connsiteX7" fmla="*/ 1971675 w 1971675"/>
              <a:gd name="connsiteY7" fmla="*/ 269875 h 269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71675" h="269875">
                <a:moveTo>
                  <a:pt x="0" y="0"/>
                </a:moveTo>
                <a:cubicBezTo>
                  <a:pt x="167481" y="48154"/>
                  <a:pt x="334963" y="96308"/>
                  <a:pt x="457200" y="114300"/>
                </a:cubicBezTo>
                <a:cubicBezTo>
                  <a:pt x="579437" y="132292"/>
                  <a:pt x="634471" y="105833"/>
                  <a:pt x="733425" y="107950"/>
                </a:cubicBezTo>
                <a:cubicBezTo>
                  <a:pt x="832379" y="110067"/>
                  <a:pt x="934508" y="123296"/>
                  <a:pt x="1050925" y="127000"/>
                </a:cubicBezTo>
                <a:cubicBezTo>
                  <a:pt x="1167342" y="130704"/>
                  <a:pt x="1343025" y="128588"/>
                  <a:pt x="1431925" y="130175"/>
                </a:cubicBezTo>
                <a:cubicBezTo>
                  <a:pt x="1520825" y="131762"/>
                  <a:pt x="1531408" y="127529"/>
                  <a:pt x="1584325" y="136525"/>
                </a:cubicBezTo>
                <a:cubicBezTo>
                  <a:pt x="1637242" y="145521"/>
                  <a:pt x="1684867" y="161925"/>
                  <a:pt x="1749425" y="184150"/>
                </a:cubicBezTo>
                <a:cubicBezTo>
                  <a:pt x="1813983" y="206375"/>
                  <a:pt x="1892829" y="238125"/>
                  <a:pt x="1971675" y="269875"/>
                </a:cubicBezTo>
              </a:path>
            </a:pathLst>
          </a:custGeom>
          <a:noFill/>
          <a:ln>
            <a:solidFill>
              <a:srgbClr val="00B05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FDC4720D-D75D-48BA-A14E-3FF5C077DE6D}"/>
              </a:ext>
            </a:extLst>
          </p:cNvPr>
          <p:cNvSpPr txBox="1"/>
          <p:nvPr/>
        </p:nvSpPr>
        <p:spPr bwMode="auto">
          <a:xfrm>
            <a:off x="6738239" y="3898358"/>
            <a:ext cx="188950" cy="971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Pct val="85000"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36”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B89F6ED4-28AE-454A-BC2A-C299E848AC37}"/>
              </a:ext>
            </a:extLst>
          </p:cNvPr>
          <p:cNvSpPr txBox="1"/>
          <p:nvPr/>
        </p:nvSpPr>
        <p:spPr bwMode="auto">
          <a:xfrm>
            <a:off x="6428510" y="4092503"/>
            <a:ext cx="744025" cy="971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Pct val="85000"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20”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72DACCA4-533B-4B3F-AFF7-2A2D70032F12}"/>
              </a:ext>
            </a:extLst>
          </p:cNvPr>
          <p:cNvSpPr txBox="1"/>
          <p:nvPr/>
        </p:nvSpPr>
        <p:spPr bwMode="auto">
          <a:xfrm>
            <a:off x="8028834" y="4271772"/>
            <a:ext cx="744025" cy="971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Pct val="85000"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36”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39CAC128-C571-4857-AF41-2492CA9DBE07}"/>
              </a:ext>
            </a:extLst>
          </p:cNvPr>
          <p:cNvSpPr txBox="1"/>
          <p:nvPr/>
        </p:nvSpPr>
        <p:spPr bwMode="auto">
          <a:xfrm>
            <a:off x="7732744" y="4426645"/>
            <a:ext cx="744025" cy="971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Pct val="85000"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28”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B418A551-5514-4D8C-85E7-373E63834467}"/>
              </a:ext>
            </a:extLst>
          </p:cNvPr>
          <p:cNvSpPr txBox="1"/>
          <p:nvPr/>
        </p:nvSpPr>
        <p:spPr bwMode="auto">
          <a:xfrm>
            <a:off x="9052499" y="4002930"/>
            <a:ext cx="228294" cy="971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Pct val="85000"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12”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5D49318C-9250-4C62-B181-86F9F25564CA}"/>
              </a:ext>
            </a:extLst>
          </p:cNvPr>
          <p:cNvSpPr txBox="1"/>
          <p:nvPr/>
        </p:nvSpPr>
        <p:spPr bwMode="auto">
          <a:xfrm>
            <a:off x="9082727" y="5996958"/>
            <a:ext cx="744025" cy="971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Pct val="85000"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24”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B9766801-AE06-4A02-9FE4-7E88E159281E}"/>
              </a:ext>
            </a:extLst>
          </p:cNvPr>
          <p:cNvSpPr txBox="1"/>
          <p:nvPr/>
        </p:nvSpPr>
        <p:spPr bwMode="auto">
          <a:xfrm>
            <a:off x="8836007" y="5028674"/>
            <a:ext cx="744025" cy="971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Pct val="85000"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28”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F720F757-7574-4559-A8FB-CC3C85CCDBBA}"/>
              </a:ext>
            </a:extLst>
          </p:cNvPr>
          <p:cNvSpPr txBox="1"/>
          <p:nvPr/>
        </p:nvSpPr>
        <p:spPr bwMode="auto">
          <a:xfrm>
            <a:off x="8945260" y="5852979"/>
            <a:ext cx="744025" cy="971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Pct val="85000"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28”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96DC6F90-EAF8-4CC9-9A6E-CAE3785C2BD2}"/>
              </a:ext>
            </a:extLst>
          </p:cNvPr>
          <p:cNvSpPr txBox="1"/>
          <p:nvPr/>
        </p:nvSpPr>
        <p:spPr bwMode="auto">
          <a:xfrm>
            <a:off x="8757450" y="4125682"/>
            <a:ext cx="228294" cy="971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Pct val="85000"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6”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C17ECB0F-1ED8-4A44-9E3D-85AAA6F5E4C6}"/>
              </a:ext>
            </a:extLst>
          </p:cNvPr>
          <p:cNvSpPr txBox="1"/>
          <p:nvPr/>
        </p:nvSpPr>
        <p:spPr bwMode="auto">
          <a:xfrm>
            <a:off x="8329006" y="3997622"/>
            <a:ext cx="540824" cy="13593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Pct val="85000"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Obigbo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 FS</a:t>
            </a:r>
          </a:p>
        </p:txBody>
      </p:sp>
      <p:sp>
        <p:nvSpPr>
          <p:cNvPr id="82" name="Pentagon 81">
            <a:extLst>
              <a:ext uri="{FF2B5EF4-FFF2-40B4-BE49-F238E27FC236}">
                <a16:creationId xmlns:a16="http://schemas.microsoft.com/office/drawing/2014/main" id="{AA2201F5-BA0A-44C1-A2EC-3A37FBDB39F1}"/>
              </a:ext>
            </a:extLst>
          </p:cNvPr>
          <p:cNvSpPr/>
          <p:nvPr/>
        </p:nvSpPr>
        <p:spPr>
          <a:xfrm>
            <a:off x="8585854" y="4139186"/>
            <a:ext cx="120739" cy="102980"/>
          </a:xfrm>
          <a:prstGeom prst="pentagon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83" name="Freeform: Shape 82">
            <a:extLst>
              <a:ext uri="{FF2B5EF4-FFF2-40B4-BE49-F238E27FC236}">
                <a16:creationId xmlns:a16="http://schemas.microsoft.com/office/drawing/2014/main" id="{61C030EC-318C-406D-827B-B52B92AF6A11}"/>
              </a:ext>
            </a:extLst>
          </p:cNvPr>
          <p:cNvSpPr/>
          <p:nvPr/>
        </p:nvSpPr>
        <p:spPr>
          <a:xfrm>
            <a:off x="8561835" y="4239631"/>
            <a:ext cx="83344" cy="230981"/>
          </a:xfrm>
          <a:custGeom>
            <a:avLst/>
            <a:gdLst>
              <a:gd name="connsiteX0" fmla="*/ 83344 w 83344"/>
              <a:gd name="connsiteY0" fmla="*/ 0 h 230981"/>
              <a:gd name="connsiteX1" fmla="*/ 59532 w 83344"/>
              <a:gd name="connsiteY1" fmla="*/ 130968 h 230981"/>
              <a:gd name="connsiteX2" fmla="*/ 0 w 83344"/>
              <a:gd name="connsiteY2" fmla="*/ 230981 h 2309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3344" h="230981">
                <a:moveTo>
                  <a:pt x="83344" y="0"/>
                </a:moveTo>
                <a:cubicBezTo>
                  <a:pt x="78383" y="46235"/>
                  <a:pt x="73423" y="92471"/>
                  <a:pt x="59532" y="130968"/>
                </a:cubicBezTo>
                <a:cubicBezTo>
                  <a:pt x="45641" y="169465"/>
                  <a:pt x="22820" y="200223"/>
                  <a:pt x="0" y="230981"/>
                </a:cubicBezTo>
              </a:path>
            </a:pathLst>
          </a:custGeom>
          <a:noFill/>
          <a:ln>
            <a:solidFill>
              <a:srgbClr val="00B05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40601997-9576-4C78-B258-0BBD106EFC3D}"/>
              </a:ext>
            </a:extLst>
          </p:cNvPr>
          <p:cNvSpPr txBox="1"/>
          <p:nvPr/>
        </p:nvSpPr>
        <p:spPr bwMode="auto">
          <a:xfrm>
            <a:off x="8564349" y="4340703"/>
            <a:ext cx="228294" cy="971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Pct val="85000"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8”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A046C1F9-0ED7-457A-BA33-2A3D92146D53}"/>
              </a:ext>
            </a:extLst>
          </p:cNvPr>
          <p:cNvSpPr txBox="1"/>
          <p:nvPr/>
        </p:nvSpPr>
        <p:spPr bwMode="auto">
          <a:xfrm rot="20567249">
            <a:off x="4659755" y="3866160"/>
            <a:ext cx="744025" cy="971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Pct val="85000"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Old KCTL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8AE4AF01-4310-408D-BDF0-FA80E478DDDE}"/>
              </a:ext>
            </a:extLst>
          </p:cNvPr>
          <p:cNvSpPr txBox="1"/>
          <p:nvPr/>
        </p:nvSpPr>
        <p:spPr bwMode="auto">
          <a:xfrm rot="20580983">
            <a:off x="4742592" y="4015868"/>
            <a:ext cx="744025" cy="971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Pct val="85000"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New KCTL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88" name="Freeform: Shape 87">
            <a:extLst>
              <a:ext uri="{FF2B5EF4-FFF2-40B4-BE49-F238E27FC236}">
                <a16:creationId xmlns:a16="http://schemas.microsoft.com/office/drawing/2014/main" id="{638B1D86-6E48-41A6-916F-880B277ED457}"/>
              </a:ext>
            </a:extLst>
          </p:cNvPr>
          <p:cNvSpPr/>
          <p:nvPr/>
        </p:nvSpPr>
        <p:spPr>
          <a:xfrm>
            <a:off x="8888087" y="4695243"/>
            <a:ext cx="865430" cy="531018"/>
          </a:xfrm>
          <a:custGeom>
            <a:avLst/>
            <a:gdLst>
              <a:gd name="connsiteX0" fmla="*/ 0 w 826538"/>
              <a:gd name="connsiteY0" fmla="*/ 0 h 609600"/>
              <a:gd name="connsiteX1" fmla="*/ 196850 w 826538"/>
              <a:gd name="connsiteY1" fmla="*/ 88900 h 609600"/>
              <a:gd name="connsiteX2" fmla="*/ 374650 w 826538"/>
              <a:gd name="connsiteY2" fmla="*/ 158750 h 609600"/>
              <a:gd name="connsiteX3" fmla="*/ 565150 w 826538"/>
              <a:gd name="connsiteY3" fmla="*/ 257175 h 609600"/>
              <a:gd name="connsiteX4" fmla="*/ 746125 w 826538"/>
              <a:gd name="connsiteY4" fmla="*/ 346075 h 609600"/>
              <a:gd name="connsiteX5" fmla="*/ 825500 w 826538"/>
              <a:gd name="connsiteY5" fmla="*/ 358775 h 609600"/>
              <a:gd name="connsiteX6" fmla="*/ 790575 w 826538"/>
              <a:gd name="connsiteY6" fmla="*/ 523875 h 609600"/>
              <a:gd name="connsiteX7" fmla="*/ 777875 w 826538"/>
              <a:gd name="connsiteY7" fmla="*/ 609600 h 609600"/>
              <a:gd name="connsiteX0" fmla="*/ 0 w 859403"/>
              <a:gd name="connsiteY0" fmla="*/ 0 h 609600"/>
              <a:gd name="connsiteX1" fmla="*/ 196850 w 859403"/>
              <a:gd name="connsiteY1" fmla="*/ 88900 h 609600"/>
              <a:gd name="connsiteX2" fmla="*/ 374650 w 859403"/>
              <a:gd name="connsiteY2" fmla="*/ 158750 h 609600"/>
              <a:gd name="connsiteX3" fmla="*/ 565150 w 859403"/>
              <a:gd name="connsiteY3" fmla="*/ 257175 h 609600"/>
              <a:gd name="connsiteX4" fmla="*/ 746125 w 859403"/>
              <a:gd name="connsiteY4" fmla="*/ 346075 h 609600"/>
              <a:gd name="connsiteX5" fmla="*/ 858838 w 859403"/>
              <a:gd name="connsiteY5" fmla="*/ 394494 h 609600"/>
              <a:gd name="connsiteX6" fmla="*/ 790575 w 859403"/>
              <a:gd name="connsiteY6" fmla="*/ 523875 h 609600"/>
              <a:gd name="connsiteX7" fmla="*/ 777875 w 859403"/>
              <a:gd name="connsiteY7" fmla="*/ 609600 h 609600"/>
              <a:gd name="connsiteX0" fmla="*/ 0 w 859403"/>
              <a:gd name="connsiteY0" fmla="*/ 0 h 609600"/>
              <a:gd name="connsiteX1" fmla="*/ 196850 w 859403"/>
              <a:gd name="connsiteY1" fmla="*/ 88900 h 609600"/>
              <a:gd name="connsiteX2" fmla="*/ 374650 w 859403"/>
              <a:gd name="connsiteY2" fmla="*/ 158750 h 609600"/>
              <a:gd name="connsiteX3" fmla="*/ 565150 w 859403"/>
              <a:gd name="connsiteY3" fmla="*/ 257175 h 609600"/>
              <a:gd name="connsiteX4" fmla="*/ 746125 w 859403"/>
              <a:gd name="connsiteY4" fmla="*/ 346075 h 609600"/>
              <a:gd name="connsiteX5" fmla="*/ 858838 w 859403"/>
              <a:gd name="connsiteY5" fmla="*/ 387351 h 609600"/>
              <a:gd name="connsiteX6" fmla="*/ 790575 w 859403"/>
              <a:gd name="connsiteY6" fmla="*/ 523875 h 609600"/>
              <a:gd name="connsiteX7" fmla="*/ 777875 w 859403"/>
              <a:gd name="connsiteY7" fmla="*/ 609600 h 609600"/>
              <a:gd name="connsiteX0" fmla="*/ 0 w 861661"/>
              <a:gd name="connsiteY0" fmla="*/ 0 h 609600"/>
              <a:gd name="connsiteX1" fmla="*/ 196850 w 861661"/>
              <a:gd name="connsiteY1" fmla="*/ 88900 h 609600"/>
              <a:gd name="connsiteX2" fmla="*/ 374650 w 861661"/>
              <a:gd name="connsiteY2" fmla="*/ 158750 h 609600"/>
              <a:gd name="connsiteX3" fmla="*/ 565150 w 861661"/>
              <a:gd name="connsiteY3" fmla="*/ 257175 h 609600"/>
              <a:gd name="connsiteX4" fmla="*/ 746125 w 861661"/>
              <a:gd name="connsiteY4" fmla="*/ 346075 h 609600"/>
              <a:gd name="connsiteX5" fmla="*/ 858838 w 861661"/>
              <a:gd name="connsiteY5" fmla="*/ 387351 h 609600"/>
              <a:gd name="connsiteX6" fmla="*/ 826294 w 861661"/>
              <a:gd name="connsiteY6" fmla="*/ 533400 h 609600"/>
              <a:gd name="connsiteX7" fmla="*/ 777875 w 861661"/>
              <a:gd name="connsiteY7" fmla="*/ 609600 h 609600"/>
              <a:gd name="connsiteX0" fmla="*/ 0 w 861661"/>
              <a:gd name="connsiteY0" fmla="*/ 0 h 657225"/>
              <a:gd name="connsiteX1" fmla="*/ 196850 w 861661"/>
              <a:gd name="connsiteY1" fmla="*/ 88900 h 657225"/>
              <a:gd name="connsiteX2" fmla="*/ 374650 w 861661"/>
              <a:gd name="connsiteY2" fmla="*/ 158750 h 657225"/>
              <a:gd name="connsiteX3" fmla="*/ 565150 w 861661"/>
              <a:gd name="connsiteY3" fmla="*/ 257175 h 657225"/>
              <a:gd name="connsiteX4" fmla="*/ 746125 w 861661"/>
              <a:gd name="connsiteY4" fmla="*/ 346075 h 657225"/>
              <a:gd name="connsiteX5" fmla="*/ 858838 w 861661"/>
              <a:gd name="connsiteY5" fmla="*/ 387351 h 657225"/>
              <a:gd name="connsiteX6" fmla="*/ 826294 w 861661"/>
              <a:gd name="connsiteY6" fmla="*/ 533400 h 657225"/>
              <a:gd name="connsiteX7" fmla="*/ 799307 w 861661"/>
              <a:gd name="connsiteY7" fmla="*/ 657225 h 657225"/>
              <a:gd name="connsiteX0" fmla="*/ 0 w 861661"/>
              <a:gd name="connsiteY0" fmla="*/ 0 h 650081"/>
              <a:gd name="connsiteX1" fmla="*/ 196850 w 861661"/>
              <a:gd name="connsiteY1" fmla="*/ 88900 h 650081"/>
              <a:gd name="connsiteX2" fmla="*/ 374650 w 861661"/>
              <a:gd name="connsiteY2" fmla="*/ 158750 h 650081"/>
              <a:gd name="connsiteX3" fmla="*/ 565150 w 861661"/>
              <a:gd name="connsiteY3" fmla="*/ 257175 h 650081"/>
              <a:gd name="connsiteX4" fmla="*/ 746125 w 861661"/>
              <a:gd name="connsiteY4" fmla="*/ 346075 h 650081"/>
              <a:gd name="connsiteX5" fmla="*/ 858838 w 861661"/>
              <a:gd name="connsiteY5" fmla="*/ 387351 h 650081"/>
              <a:gd name="connsiteX6" fmla="*/ 826294 w 861661"/>
              <a:gd name="connsiteY6" fmla="*/ 533400 h 650081"/>
              <a:gd name="connsiteX7" fmla="*/ 789782 w 861661"/>
              <a:gd name="connsiteY7" fmla="*/ 650081 h 650081"/>
              <a:gd name="connsiteX0" fmla="*/ 0 w 861661"/>
              <a:gd name="connsiteY0" fmla="*/ 0 h 659606"/>
              <a:gd name="connsiteX1" fmla="*/ 196850 w 861661"/>
              <a:gd name="connsiteY1" fmla="*/ 88900 h 659606"/>
              <a:gd name="connsiteX2" fmla="*/ 374650 w 861661"/>
              <a:gd name="connsiteY2" fmla="*/ 158750 h 659606"/>
              <a:gd name="connsiteX3" fmla="*/ 565150 w 861661"/>
              <a:gd name="connsiteY3" fmla="*/ 257175 h 659606"/>
              <a:gd name="connsiteX4" fmla="*/ 746125 w 861661"/>
              <a:gd name="connsiteY4" fmla="*/ 346075 h 659606"/>
              <a:gd name="connsiteX5" fmla="*/ 858838 w 861661"/>
              <a:gd name="connsiteY5" fmla="*/ 387351 h 659606"/>
              <a:gd name="connsiteX6" fmla="*/ 826294 w 861661"/>
              <a:gd name="connsiteY6" fmla="*/ 533400 h 659606"/>
              <a:gd name="connsiteX7" fmla="*/ 792163 w 861661"/>
              <a:gd name="connsiteY7" fmla="*/ 659606 h 659606"/>
              <a:gd name="connsiteX0" fmla="*/ 0 w 861661"/>
              <a:gd name="connsiteY0" fmla="*/ 0 h 657225"/>
              <a:gd name="connsiteX1" fmla="*/ 196850 w 861661"/>
              <a:gd name="connsiteY1" fmla="*/ 88900 h 657225"/>
              <a:gd name="connsiteX2" fmla="*/ 374650 w 861661"/>
              <a:gd name="connsiteY2" fmla="*/ 158750 h 657225"/>
              <a:gd name="connsiteX3" fmla="*/ 565150 w 861661"/>
              <a:gd name="connsiteY3" fmla="*/ 257175 h 657225"/>
              <a:gd name="connsiteX4" fmla="*/ 746125 w 861661"/>
              <a:gd name="connsiteY4" fmla="*/ 346075 h 657225"/>
              <a:gd name="connsiteX5" fmla="*/ 858838 w 861661"/>
              <a:gd name="connsiteY5" fmla="*/ 387351 h 657225"/>
              <a:gd name="connsiteX6" fmla="*/ 826294 w 861661"/>
              <a:gd name="connsiteY6" fmla="*/ 533400 h 657225"/>
              <a:gd name="connsiteX7" fmla="*/ 787401 w 861661"/>
              <a:gd name="connsiteY7" fmla="*/ 657225 h 657225"/>
              <a:gd name="connsiteX0" fmla="*/ 0 w 861661"/>
              <a:gd name="connsiteY0" fmla="*/ 0 h 647700"/>
              <a:gd name="connsiteX1" fmla="*/ 196850 w 861661"/>
              <a:gd name="connsiteY1" fmla="*/ 88900 h 647700"/>
              <a:gd name="connsiteX2" fmla="*/ 374650 w 861661"/>
              <a:gd name="connsiteY2" fmla="*/ 158750 h 647700"/>
              <a:gd name="connsiteX3" fmla="*/ 565150 w 861661"/>
              <a:gd name="connsiteY3" fmla="*/ 257175 h 647700"/>
              <a:gd name="connsiteX4" fmla="*/ 746125 w 861661"/>
              <a:gd name="connsiteY4" fmla="*/ 346075 h 647700"/>
              <a:gd name="connsiteX5" fmla="*/ 858838 w 861661"/>
              <a:gd name="connsiteY5" fmla="*/ 387351 h 647700"/>
              <a:gd name="connsiteX6" fmla="*/ 826294 w 861661"/>
              <a:gd name="connsiteY6" fmla="*/ 533400 h 647700"/>
              <a:gd name="connsiteX7" fmla="*/ 799307 w 861661"/>
              <a:gd name="connsiteY7" fmla="*/ 647700 h 647700"/>
              <a:gd name="connsiteX0" fmla="*/ 0 w 861661"/>
              <a:gd name="connsiteY0" fmla="*/ 0 h 533400"/>
              <a:gd name="connsiteX1" fmla="*/ 196850 w 861661"/>
              <a:gd name="connsiteY1" fmla="*/ 88900 h 533400"/>
              <a:gd name="connsiteX2" fmla="*/ 374650 w 861661"/>
              <a:gd name="connsiteY2" fmla="*/ 158750 h 533400"/>
              <a:gd name="connsiteX3" fmla="*/ 565150 w 861661"/>
              <a:gd name="connsiteY3" fmla="*/ 257175 h 533400"/>
              <a:gd name="connsiteX4" fmla="*/ 746125 w 861661"/>
              <a:gd name="connsiteY4" fmla="*/ 346075 h 533400"/>
              <a:gd name="connsiteX5" fmla="*/ 858838 w 861661"/>
              <a:gd name="connsiteY5" fmla="*/ 387351 h 533400"/>
              <a:gd name="connsiteX6" fmla="*/ 826294 w 861661"/>
              <a:gd name="connsiteY6" fmla="*/ 533400 h 533400"/>
              <a:gd name="connsiteX0" fmla="*/ 0 w 863798"/>
              <a:gd name="connsiteY0" fmla="*/ 0 h 547687"/>
              <a:gd name="connsiteX1" fmla="*/ 196850 w 863798"/>
              <a:gd name="connsiteY1" fmla="*/ 88900 h 547687"/>
              <a:gd name="connsiteX2" fmla="*/ 374650 w 863798"/>
              <a:gd name="connsiteY2" fmla="*/ 158750 h 547687"/>
              <a:gd name="connsiteX3" fmla="*/ 565150 w 863798"/>
              <a:gd name="connsiteY3" fmla="*/ 257175 h 547687"/>
              <a:gd name="connsiteX4" fmla="*/ 746125 w 863798"/>
              <a:gd name="connsiteY4" fmla="*/ 346075 h 547687"/>
              <a:gd name="connsiteX5" fmla="*/ 858838 w 863798"/>
              <a:gd name="connsiteY5" fmla="*/ 387351 h 547687"/>
              <a:gd name="connsiteX6" fmla="*/ 840582 w 863798"/>
              <a:gd name="connsiteY6" fmla="*/ 547687 h 547687"/>
              <a:gd name="connsiteX0" fmla="*/ 0 w 863798"/>
              <a:gd name="connsiteY0" fmla="*/ 0 h 523874"/>
              <a:gd name="connsiteX1" fmla="*/ 196850 w 863798"/>
              <a:gd name="connsiteY1" fmla="*/ 88900 h 523874"/>
              <a:gd name="connsiteX2" fmla="*/ 374650 w 863798"/>
              <a:gd name="connsiteY2" fmla="*/ 158750 h 523874"/>
              <a:gd name="connsiteX3" fmla="*/ 565150 w 863798"/>
              <a:gd name="connsiteY3" fmla="*/ 257175 h 523874"/>
              <a:gd name="connsiteX4" fmla="*/ 746125 w 863798"/>
              <a:gd name="connsiteY4" fmla="*/ 346075 h 523874"/>
              <a:gd name="connsiteX5" fmla="*/ 858838 w 863798"/>
              <a:gd name="connsiteY5" fmla="*/ 387351 h 523874"/>
              <a:gd name="connsiteX6" fmla="*/ 840582 w 863798"/>
              <a:gd name="connsiteY6" fmla="*/ 523874 h 523874"/>
              <a:gd name="connsiteX0" fmla="*/ 0 w 865430"/>
              <a:gd name="connsiteY0" fmla="*/ 0 h 531018"/>
              <a:gd name="connsiteX1" fmla="*/ 196850 w 865430"/>
              <a:gd name="connsiteY1" fmla="*/ 88900 h 531018"/>
              <a:gd name="connsiteX2" fmla="*/ 374650 w 865430"/>
              <a:gd name="connsiteY2" fmla="*/ 158750 h 531018"/>
              <a:gd name="connsiteX3" fmla="*/ 565150 w 865430"/>
              <a:gd name="connsiteY3" fmla="*/ 257175 h 531018"/>
              <a:gd name="connsiteX4" fmla="*/ 746125 w 865430"/>
              <a:gd name="connsiteY4" fmla="*/ 346075 h 531018"/>
              <a:gd name="connsiteX5" fmla="*/ 858838 w 865430"/>
              <a:gd name="connsiteY5" fmla="*/ 387351 h 531018"/>
              <a:gd name="connsiteX6" fmla="*/ 847726 w 865430"/>
              <a:gd name="connsiteY6" fmla="*/ 531018 h 531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65430" h="531018">
                <a:moveTo>
                  <a:pt x="0" y="0"/>
                </a:moveTo>
                <a:cubicBezTo>
                  <a:pt x="67204" y="31221"/>
                  <a:pt x="134408" y="62442"/>
                  <a:pt x="196850" y="88900"/>
                </a:cubicBezTo>
                <a:cubicBezTo>
                  <a:pt x="259292" y="115358"/>
                  <a:pt x="313267" y="130704"/>
                  <a:pt x="374650" y="158750"/>
                </a:cubicBezTo>
                <a:cubicBezTo>
                  <a:pt x="436033" y="186796"/>
                  <a:pt x="503238" y="225954"/>
                  <a:pt x="565150" y="257175"/>
                </a:cubicBezTo>
                <a:cubicBezTo>
                  <a:pt x="627063" y="288396"/>
                  <a:pt x="697177" y="324379"/>
                  <a:pt x="746125" y="346075"/>
                </a:cubicBezTo>
                <a:cubicBezTo>
                  <a:pt x="795073" y="367771"/>
                  <a:pt x="841905" y="356527"/>
                  <a:pt x="858838" y="387351"/>
                </a:cubicBezTo>
                <a:cubicBezTo>
                  <a:pt x="875772" y="418175"/>
                  <a:pt x="855663" y="489214"/>
                  <a:pt x="847726" y="531018"/>
                </a:cubicBezTo>
              </a:path>
            </a:pathLst>
          </a:custGeom>
          <a:noFill/>
          <a:ln>
            <a:solidFill>
              <a:srgbClr val="00B05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id="{CE566570-B293-4224-A009-9937B39F3352}"/>
              </a:ext>
            </a:extLst>
          </p:cNvPr>
          <p:cNvGrpSpPr/>
          <p:nvPr/>
        </p:nvGrpSpPr>
        <p:grpSpPr>
          <a:xfrm>
            <a:off x="3353509" y="3840754"/>
            <a:ext cx="5567362" cy="2953428"/>
            <a:chOff x="3195105" y="3320636"/>
            <a:chExt cx="5567362" cy="2953428"/>
          </a:xfrm>
        </p:grpSpPr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46B691D9-6107-4653-B9E4-E5CF971D4870}"/>
                </a:ext>
              </a:extLst>
            </p:cNvPr>
            <p:cNvGrpSpPr/>
            <p:nvPr/>
          </p:nvGrpSpPr>
          <p:grpSpPr>
            <a:xfrm>
              <a:off x="3195105" y="3320636"/>
              <a:ext cx="5567362" cy="2662328"/>
              <a:chOff x="3595688" y="3347509"/>
              <a:chExt cx="5567362" cy="2611966"/>
            </a:xfrm>
          </p:grpSpPr>
          <p:sp>
            <p:nvSpPr>
              <p:cNvPr id="108" name="Freeform: Shape 107">
                <a:extLst>
                  <a:ext uri="{FF2B5EF4-FFF2-40B4-BE49-F238E27FC236}">
                    <a16:creationId xmlns:a16="http://schemas.microsoft.com/office/drawing/2014/main" id="{373FA77F-238B-43BE-A2BD-B4BFAC52C8B1}"/>
                  </a:ext>
                </a:extLst>
              </p:cNvPr>
              <p:cNvSpPr/>
              <p:nvPr/>
            </p:nvSpPr>
            <p:spPr>
              <a:xfrm>
                <a:off x="5910233" y="5211526"/>
                <a:ext cx="3246467" cy="595549"/>
              </a:xfrm>
              <a:custGeom>
                <a:avLst/>
                <a:gdLst>
                  <a:gd name="connsiteX0" fmla="*/ 46067 w 3246467"/>
                  <a:gd name="connsiteY0" fmla="*/ 208199 h 595549"/>
                  <a:gd name="connsiteX1" fmla="*/ 11142 w 3246467"/>
                  <a:gd name="connsiteY1" fmla="*/ 154224 h 595549"/>
                  <a:gd name="connsiteX2" fmla="*/ 217517 w 3246467"/>
                  <a:gd name="connsiteY2" fmla="*/ 43099 h 595549"/>
                  <a:gd name="connsiteX3" fmla="*/ 617567 w 3246467"/>
                  <a:gd name="connsiteY3" fmla="*/ 81199 h 595549"/>
                  <a:gd name="connsiteX4" fmla="*/ 963642 w 3246467"/>
                  <a:gd name="connsiteY4" fmla="*/ 103424 h 595549"/>
                  <a:gd name="connsiteX5" fmla="*/ 1141442 w 3246467"/>
                  <a:gd name="connsiteY5" fmla="*/ 87549 h 595549"/>
                  <a:gd name="connsiteX6" fmla="*/ 1163667 w 3246467"/>
                  <a:gd name="connsiteY6" fmla="*/ 55799 h 595549"/>
                  <a:gd name="connsiteX7" fmla="*/ 1284317 w 3246467"/>
                  <a:gd name="connsiteY7" fmla="*/ 55799 h 595549"/>
                  <a:gd name="connsiteX8" fmla="*/ 1535142 w 3246467"/>
                  <a:gd name="connsiteY8" fmla="*/ 46274 h 595549"/>
                  <a:gd name="connsiteX9" fmla="*/ 1576417 w 3246467"/>
                  <a:gd name="connsiteY9" fmla="*/ 65324 h 595549"/>
                  <a:gd name="connsiteX10" fmla="*/ 1687542 w 3246467"/>
                  <a:gd name="connsiteY10" fmla="*/ 49449 h 595549"/>
                  <a:gd name="connsiteX11" fmla="*/ 1757392 w 3246467"/>
                  <a:gd name="connsiteY11" fmla="*/ 24049 h 595549"/>
                  <a:gd name="connsiteX12" fmla="*/ 1798667 w 3246467"/>
                  <a:gd name="connsiteY12" fmla="*/ 14524 h 595549"/>
                  <a:gd name="connsiteX13" fmla="*/ 2211417 w 3246467"/>
                  <a:gd name="connsiteY13" fmla="*/ 4999 h 595549"/>
                  <a:gd name="connsiteX14" fmla="*/ 2338417 w 3246467"/>
                  <a:gd name="connsiteY14" fmla="*/ 1824 h 595549"/>
                  <a:gd name="connsiteX15" fmla="*/ 2370167 w 3246467"/>
                  <a:gd name="connsiteY15" fmla="*/ 33574 h 595549"/>
                  <a:gd name="connsiteX16" fmla="*/ 2449542 w 3246467"/>
                  <a:gd name="connsiteY16" fmla="*/ 81199 h 595549"/>
                  <a:gd name="connsiteX17" fmla="*/ 2528917 w 3246467"/>
                  <a:gd name="connsiteY17" fmla="*/ 97074 h 595549"/>
                  <a:gd name="connsiteX18" fmla="*/ 2617817 w 3246467"/>
                  <a:gd name="connsiteY18" fmla="*/ 131999 h 595549"/>
                  <a:gd name="connsiteX19" fmla="*/ 2668617 w 3246467"/>
                  <a:gd name="connsiteY19" fmla="*/ 147874 h 595549"/>
                  <a:gd name="connsiteX20" fmla="*/ 2833717 w 3246467"/>
                  <a:gd name="connsiteY20" fmla="*/ 198674 h 595549"/>
                  <a:gd name="connsiteX21" fmla="*/ 2935317 w 3246467"/>
                  <a:gd name="connsiteY21" fmla="*/ 297099 h 595549"/>
                  <a:gd name="connsiteX22" fmla="*/ 3173442 w 3246467"/>
                  <a:gd name="connsiteY22" fmla="*/ 344724 h 595549"/>
                  <a:gd name="connsiteX23" fmla="*/ 3217892 w 3246467"/>
                  <a:gd name="connsiteY23" fmla="*/ 532049 h 595549"/>
                  <a:gd name="connsiteX24" fmla="*/ 3246467 w 3246467"/>
                  <a:gd name="connsiteY24" fmla="*/ 595549 h 595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3246467" h="595549">
                    <a:moveTo>
                      <a:pt x="46067" y="208199"/>
                    </a:moveTo>
                    <a:cubicBezTo>
                      <a:pt x="14317" y="194970"/>
                      <a:pt x="-17433" y="181741"/>
                      <a:pt x="11142" y="154224"/>
                    </a:cubicBezTo>
                    <a:cubicBezTo>
                      <a:pt x="39717" y="126707"/>
                      <a:pt x="116446" y="55270"/>
                      <a:pt x="217517" y="43099"/>
                    </a:cubicBezTo>
                    <a:cubicBezTo>
                      <a:pt x="318588" y="30928"/>
                      <a:pt x="493213" y="71145"/>
                      <a:pt x="617567" y="81199"/>
                    </a:cubicBezTo>
                    <a:cubicBezTo>
                      <a:pt x="741921" y="91253"/>
                      <a:pt x="876330" y="102366"/>
                      <a:pt x="963642" y="103424"/>
                    </a:cubicBezTo>
                    <a:cubicBezTo>
                      <a:pt x="1050954" y="104482"/>
                      <a:pt x="1108105" y="95486"/>
                      <a:pt x="1141442" y="87549"/>
                    </a:cubicBezTo>
                    <a:cubicBezTo>
                      <a:pt x="1174779" y="79612"/>
                      <a:pt x="1139854" y="61091"/>
                      <a:pt x="1163667" y="55799"/>
                    </a:cubicBezTo>
                    <a:cubicBezTo>
                      <a:pt x="1187480" y="50507"/>
                      <a:pt x="1222405" y="57386"/>
                      <a:pt x="1284317" y="55799"/>
                    </a:cubicBezTo>
                    <a:cubicBezTo>
                      <a:pt x="1346229" y="54212"/>
                      <a:pt x="1486459" y="44687"/>
                      <a:pt x="1535142" y="46274"/>
                    </a:cubicBezTo>
                    <a:cubicBezTo>
                      <a:pt x="1583825" y="47861"/>
                      <a:pt x="1551017" y="64795"/>
                      <a:pt x="1576417" y="65324"/>
                    </a:cubicBezTo>
                    <a:cubicBezTo>
                      <a:pt x="1601817" y="65853"/>
                      <a:pt x="1657380" y="56328"/>
                      <a:pt x="1687542" y="49449"/>
                    </a:cubicBezTo>
                    <a:cubicBezTo>
                      <a:pt x="1717704" y="42570"/>
                      <a:pt x="1738871" y="29870"/>
                      <a:pt x="1757392" y="24049"/>
                    </a:cubicBezTo>
                    <a:cubicBezTo>
                      <a:pt x="1775913" y="18228"/>
                      <a:pt x="1722996" y="17699"/>
                      <a:pt x="1798667" y="14524"/>
                    </a:cubicBezTo>
                    <a:cubicBezTo>
                      <a:pt x="1874338" y="11349"/>
                      <a:pt x="2211417" y="4999"/>
                      <a:pt x="2211417" y="4999"/>
                    </a:cubicBezTo>
                    <a:cubicBezTo>
                      <a:pt x="2301375" y="2882"/>
                      <a:pt x="2311959" y="-2938"/>
                      <a:pt x="2338417" y="1824"/>
                    </a:cubicBezTo>
                    <a:cubicBezTo>
                      <a:pt x="2364875" y="6586"/>
                      <a:pt x="2351646" y="20345"/>
                      <a:pt x="2370167" y="33574"/>
                    </a:cubicBezTo>
                    <a:cubicBezTo>
                      <a:pt x="2388688" y="46803"/>
                      <a:pt x="2423084" y="70616"/>
                      <a:pt x="2449542" y="81199"/>
                    </a:cubicBezTo>
                    <a:cubicBezTo>
                      <a:pt x="2476000" y="91782"/>
                      <a:pt x="2500871" y="88607"/>
                      <a:pt x="2528917" y="97074"/>
                    </a:cubicBezTo>
                    <a:cubicBezTo>
                      <a:pt x="2556963" y="105541"/>
                      <a:pt x="2594534" y="123532"/>
                      <a:pt x="2617817" y="131999"/>
                    </a:cubicBezTo>
                    <a:cubicBezTo>
                      <a:pt x="2641100" y="140466"/>
                      <a:pt x="2668617" y="147874"/>
                      <a:pt x="2668617" y="147874"/>
                    </a:cubicBezTo>
                    <a:cubicBezTo>
                      <a:pt x="2704600" y="158987"/>
                      <a:pt x="2789267" y="173803"/>
                      <a:pt x="2833717" y="198674"/>
                    </a:cubicBezTo>
                    <a:cubicBezTo>
                      <a:pt x="2878167" y="223545"/>
                      <a:pt x="2878696" y="272757"/>
                      <a:pt x="2935317" y="297099"/>
                    </a:cubicBezTo>
                    <a:cubicBezTo>
                      <a:pt x="2991938" y="321441"/>
                      <a:pt x="3126346" y="305566"/>
                      <a:pt x="3173442" y="344724"/>
                    </a:cubicBezTo>
                    <a:cubicBezTo>
                      <a:pt x="3220538" y="383882"/>
                      <a:pt x="3205721" y="490245"/>
                      <a:pt x="3217892" y="532049"/>
                    </a:cubicBezTo>
                    <a:cubicBezTo>
                      <a:pt x="3230063" y="573853"/>
                      <a:pt x="3243292" y="587611"/>
                      <a:pt x="3246467" y="595549"/>
                    </a:cubicBezTo>
                  </a:path>
                </a:pathLst>
              </a:custGeom>
              <a:noFill/>
              <a:ln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endParaRPr>
              </a:p>
            </p:txBody>
          </p:sp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D61CD2C3-A17F-41C8-87F1-46F97A091540}"/>
                  </a:ext>
                </a:extLst>
              </p:cNvPr>
              <p:cNvSpPr/>
              <p:nvPr/>
            </p:nvSpPr>
            <p:spPr>
              <a:xfrm>
                <a:off x="3595688" y="3347509"/>
                <a:ext cx="1976437" cy="1530053"/>
              </a:xfrm>
              <a:custGeom>
                <a:avLst/>
                <a:gdLst>
                  <a:gd name="connsiteX0" fmla="*/ 0 w 1976437"/>
                  <a:gd name="connsiteY0" fmla="*/ 33866 h 1530053"/>
                  <a:gd name="connsiteX1" fmla="*/ 328612 w 1976437"/>
                  <a:gd name="connsiteY1" fmla="*/ 14816 h 1530053"/>
                  <a:gd name="connsiteX2" fmla="*/ 257175 w 1976437"/>
                  <a:gd name="connsiteY2" fmla="*/ 224366 h 1530053"/>
                  <a:gd name="connsiteX3" fmla="*/ 376237 w 1976437"/>
                  <a:gd name="connsiteY3" fmla="*/ 367241 h 1530053"/>
                  <a:gd name="connsiteX4" fmla="*/ 814387 w 1976437"/>
                  <a:gd name="connsiteY4" fmla="*/ 729191 h 1530053"/>
                  <a:gd name="connsiteX5" fmla="*/ 1223962 w 1976437"/>
                  <a:gd name="connsiteY5" fmla="*/ 1019704 h 1530053"/>
                  <a:gd name="connsiteX6" fmla="*/ 1609725 w 1976437"/>
                  <a:gd name="connsiteY6" fmla="*/ 1291166 h 1530053"/>
                  <a:gd name="connsiteX7" fmla="*/ 1890712 w 1976437"/>
                  <a:gd name="connsiteY7" fmla="*/ 1510241 h 1530053"/>
                  <a:gd name="connsiteX8" fmla="*/ 1976437 w 1976437"/>
                  <a:gd name="connsiteY8" fmla="*/ 1519766 h 1530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76437" h="1530053">
                    <a:moveTo>
                      <a:pt x="0" y="33866"/>
                    </a:moveTo>
                    <a:cubicBezTo>
                      <a:pt x="142875" y="8466"/>
                      <a:pt x="285750" y="-16934"/>
                      <a:pt x="328612" y="14816"/>
                    </a:cubicBezTo>
                    <a:cubicBezTo>
                      <a:pt x="371474" y="46566"/>
                      <a:pt x="249238" y="165629"/>
                      <a:pt x="257175" y="224366"/>
                    </a:cubicBezTo>
                    <a:cubicBezTo>
                      <a:pt x="265113" y="283104"/>
                      <a:pt x="283368" y="283104"/>
                      <a:pt x="376237" y="367241"/>
                    </a:cubicBezTo>
                    <a:cubicBezTo>
                      <a:pt x="469106" y="451378"/>
                      <a:pt x="673100" y="620447"/>
                      <a:pt x="814387" y="729191"/>
                    </a:cubicBezTo>
                    <a:cubicBezTo>
                      <a:pt x="955675" y="837935"/>
                      <a:pt x="1223962" y="1019704"/>
                      <a:pt x="1223962" y="1019704"/>
                    </a:cubicBezTo>
                    <a:cubicBezTo>
                      <a:pt x="1356518" y="1113367"/>
                      <a:pt x="1498600" y="1209410"/>
                      <a:pt x="1609725" y="1291166"/>
                    </a:cubicBezTo>
                    <a:cubicBezTo>
                      <a:pt x="1720850" y="1372922"/>
                      <a:pt x="1829593" y="1472141"/>
                      <a:pt x="1890712" y="1510241"/>
                    </a:cubicBezTo>
                    <a:cubicBezTo>
                      <a:pt x="1951831" y="1548341"/>
                      <a:pt x="1976437" y="1519766"/>
                      <a:pt x="1976437" y="1519766"/>
                    </a:cubicBezTo>
                  </a:path>
                </a:pathLst>
              </a:custGeom>
              <a:noFill/>
              <a:ln>
                <a:solidFill>
                  <a:schemeClr val="accent3">
                    <a:lumMod val="40000"/>
                    <a:lumOff val="60000"/>
                  </a:schemeClr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endParaRPr>
              </a:p>
            </p:txBody>
          </p:sp>
          <p:sp>
            <p:nvSpPr>
              <p:cNvPr id="104" name="Freeform: Shape 103">
                <a:extLst>
                  <a:ext uri="{FF2B5EF4-FFF2-40B4-BE49-F238E27FC236}">
                    <a16:creationId xmlns:a16="http://schemas.microsoft.com/office/drawing/2014/main" id="{897B8471-ED09-44B4-A13F-40A390C240BE}"/>
                  </a:ext>
                </a:extLst>
              </p:cNvPr>
              <p:cNvSpPr/>
              <p:nvPr/>
            </p:nvSpPr>
            <p:spPr>
              <a:xfrm>
                <a:off x="5624513" y="4900613"/>
                <a:ext cx="3538537" cy="1004887"/>
              </a:xfrm>
              <a:custGeom>
                <a:avLst/>
                <a:gdLst>
                  <a:gd name="connsiteX0" fmla="*/ 0 w 3538537"/>
                  <a:gd name="connsiteY0" fmla="*/ 0 h 1004887"/>
                  <a:gd name="connsiteX1" fmla="*/ 71437 w 3538537"/>
                  <a:gd name="connsiteY1" fmla="*/ 76200 h 1004887"/>
                  <a:gd name="connsiteX2" fmla="*/ 119062 w 3538537"/>
                  <a:gd name="connsiteY2" fmla="*/ 123825 h 1004887"/>
                  <a:gd name="connsiteX3" fmla="*/ 223837 w 3538537"/>
                  <a:gd name="connsiteY3" fmla="*/ 209550 h 1004887"/>
                  <a:gd name="connsiteX4" fmla="*/ 290512 w 3538537"/>
                  <a:gd name="connsiteY4" fmla="*/ 285750 h 1004887"/>
                  <a:gd name="connsiteX5" fmla="*/ 366712 w 3538537"/>
                  <a:gd name="connsiteY5" fmla="*/ 323850 h 1004887"/>
                  <a:gd name="connsiteX6" fmla="*/ 557212 w 3538537"/>
                  <a:gd name="connsiteY6" fmla="*/ 314325 h 1004887"/>
                  <a:gd name="connsiteX7" fmla="*/ 771525 w 3538537"/>
                  <a:gd name="connsiteY7" fmla="*/ 338137 h 1004887"/>
                  <a:gd name="connsiteX8" fmla="*/ 1038225 w 3538537"/>
                  <a:gd name="connsiteY8" fmla="*/ 361950 h 1004887"/>
                  <a:gd name="connsiteX9" fmla="*/ 1352550 w 3538537"/>
                  <a:gd name="connsiteY9" fmla="*/ 371475 h 1004887"/>
                  <a:gd name="connsiteX10" fmla="*/ 1423987 w 3538537"/>
                  <a:gd name="connsiteY10" fmla="*/ 338137 h 1004887"/>
                  <a:gd name="connsiteX11" fmla="*/ 1690687 w 3538537"/>
                  <a:gd name="connsiteY11" fmla="*/ 319087 h 1004887"/>
                  <a:gd name="connsiteX12" fmla="*/ 1809750 w 3538537"/>
                  <a:gd name="connsiteY12" fmla="*/ 323850 h 1004887"/>
                  <a:gd name="connsiteX13" fmla="*/ 1885950 w 3538537"/>
                  <a:gd name="connsiteY13" fmla="*/ 333375 h 1004887"/>
                  <a:gd name="connsiteX14" fmla="*/ 1995487 w 3538537"/>
                  <a:gd name="connsiteY14" fmla="*/ 309562 h 1004887"/>
                  <a:gd name="connsiteX15" fmla="*/ 2038350 w 3538537"/>
                  <a:gd name="connsiteY15" fmla="*/ 290512 h 1004887"/>
                  <a:gd name="connsiteX16" fmla="*/ 2209800 w 3538537"/>
                  <a:gd name="connsiteY16" fmla="*/ 280987 h 1004887"/>
                  <a:gd name="connsiteX17" fmla="*/ 2457450 w 3538537"/>
                  <a:gd name="connsiteY17" fmla="*/ 280987 h 1004887"/>
                  <a:gd name="connsiteX18" fmla="*/ 2638425 w 3538537"/>
                  <a:gd name="connsiteY18" fmla="*/ 280987 h 1004887"/>
                  <a:gd name="connsiteX19" fmla="*/ 2733675 w 3538537"/>
                  <a:gd name="connsiteY19" fmla="*/ 352425 h 1004887"/>
                  <a:gd name="connsiteX20" fmla="*/ 2824162 w 3538537"/>
                  <a:gd name="connsiteY20" fmla="*/ 376237 h 1004887"/>
                  <a:gd name="connsiteX21" fmla="*/ 2981325 w 3538537"/>
                  <a:gd name="connsiteY21" fmla="*/ 457200 h 1004887"/>
                  <a:gd name="connsiteX22" fmla="*/ 2995612 w 3538537"/>
                  <a:gd name="connsiteY22" fmla="*/ 642937 h 1004887"/>
                  <a:gd name="connsiteX23" fmla="*/ 3067050 w 3538537"/>
                  <a:gd name="connsiteY23" fmla="*/ 771525 h 1004887"/>
                  <a:gd name="connsiteX24" fmla="*/ 3252787 w 3538537"/>
                  <a:gd name="connsiteY24" fmla="*/ 895350 h 1004887"/>
                  <a:gd name="connsiteX25" fmla="*/ 3419475 w 3538537"/>
                  <a:gd name="connsiteY25" fmla="*/ 985837 h 1004887"/>
                  <a:gd name="connsiteX26" fmla="*/ 3538537 w 3538537"/>
                  <a:gd name="connsiteY26" fmla="*/ 1004887 h 1004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3538537" h="1004887">
                    <a:moveTo>
                      <a:pt x="0" y="0"/>
                    </a:moveTo>
                    <a:cubicBezTo>
                      <a:pt x="25796" y="27781"/>
                      <a:pt x="51593" y="55563"/>
                      <a:pt x="71437" y="76200"/>
                    </a:cubicBezTo>
                    <a:cubicBezTo>
                      <a:pt x="91281" y="96837"/>
                      <a:pt x="93662" y="101600"/>
                      <a:pt x="119062" y="123825"/>
                    </a:cubicBezTo>
                    <a:cubicBezTo>
                      <a:pt x="144462" y="146050"/>
                      <a:pt x="195262" y="182563"/>
                      <a:pt x="223837" y="209550"/>
                    </a:cubicBezTo>
                    <a:cubicBezTo>
                      <a:pt x="252412" y="236538"/>
                      <a:pt x="266700" y="266700"/>
                      <a:pt x="290512" y="285750"/>
                    </a:cubicBezTo>
                    <a:cubicBezTo>
                      <a:pt x="314324" y="304800"/>
                      <a:pt x="322262" y="319088"/>
                      <a:pt x="366712" y="323850"/>
                    </a:cubicBezTo>
                    <a:cubicBezTo>
                      <a:pt x="411162" y="328613"/>
                      <a:pt x="489743" y="311944"/>
                      <a:pt x="557212" y="314325"/>
                    </a:cubicBezTo>
                    <a:cubicBezTo>
                      <a:pt x="624681" y="316706"/>
                      <a:pt x="771525" y="338137"/>
                      <a:pt x="771525" y="338137"/>
                    </a:cubicBezTo>
                    <a:cubicBezTo>
                      <a:pt x="851694" y="346074"/>
                      <a:pt x="941388" y="356394"/>
                      <a:pt x="1038225" y="361950"/>
                    </a:cubicBezTo>
                    <a:cubicBezTo>
                      <a:pt x="1135063" y="367506"/>
                      <a:pt x="1288256" y="375444"/>
                      <a:pt x="1352550" y="371475"/>
                    </a:cubicBezTo>
                    <a:cubicBezTo>
                      <a:pt x="1416844" y="367506"/>
                      <a:pt x="1367631" y="346868"/>
                      <a:pt x="1423987" y="338137"/>
                    </a:cubicBezTo>
                    <a:cubicBezTo>
                      <a:pt x="1480343" y="329406"/>
                      <a:pt x="1626393" y="321468"/>
                      <a:pt x="1690687" y="319087"/>
                    </a:cubicBezTo>
                    <a:cubicBezTo>
                      <a:pt x="1754981" y="316706"/>
                      <a:pt x="1777206" y="321469"/>
                      <a:pt x="1809750" y="323850"/>
                    </a:cubicBezTo>
                    <a:cubicBezTo>
                      <a:pt x="1842294" y="326231"/>
                      <a:pt x="1854994" y="335756"/>
                      <a:pt x="1885950" y="333375"/>
                    </a:cubicBezTo>
                    <a:cubicBezTo>
                      <a:pt x="1916906" y="330994"/>
                      <a:pt x="1970087" y="316706"/>
                      <a:pt x="1995487" y="309562"/>
                    </a:cubicBezTo>
                    <a:cubicBezTo>
                      <a:pt x="2020887" y="302418"/>
                      <a:pt x="2002631" y="295274"/>
                      <a:pt x="2038350" y="290512"/>
                    </a:cubicBezTo>
                    <a:cubicBezTo>
                      <a:pt x="2074069" y="285750"/>
                      <a:pt x="2139950" y="282575"/>
                      <a:pt x="2209800" y="280987"/>
                    </a:cubicBezTo>
                    <a:cubicBezTo>
                      <a:pt x="2279650" y="279400"/>
                      <a:pt x="2457450" y="280987"/>
                      <a:pt x="2457450" y="280987"/>
                    </a:cubicBezTo>
                    <a:cubicBezTo>
                      <a:pt x="2528887" y="280987"/>
                      <a:pt x="2592387" y="269081"/>
                      <a:pt x="2638425" y="280987"/>
                    </a:cubicBezTo>
                    <a:cubicBezTo>
                      <a:pt x="2684463" y="292893"/>
                      <a:pt x="2702719" y="336550"/>
                      <a:pt x="2733675" y="352425"/>
                    </a:cubicBezTo>
                    <a:cubicBezTo>
                      <a:pt x="2764631" y="368300"/>
                      <a:pt x="2782887" y="358775"/>
                      <a:pt x="2824162" y="376237"/>
                    </a:cubicBezTo>
                    <a:cubicBezTo>
                      <a:pt x="2865437" y="393700"/>
                      <a:pt x="2952750" y="412750"/>
                      <a:pt x="2981325" y="457200"/>
                    </a:cubicBezTo>
                    <a:cubicBezTo>
                      <a:pt x="3009900" y="501650"/>
                      <a:pt x="2981325" y="590550"/>
                      <a:pt x="2995612" y="642937"/>
                    </a:cubicBezTo>
                    <a:cubicBezTo>
                      <a:pt x="3009899" y="695324"/>
                      <a:pt x="3024188" y="729456"/>
                      <a:pt x="3067050" y="771525"/>
                    </a:cubicBezTo>
                    <a:cubicBezTo>
                      <a:pt x="3109912" y="813594"/>
                      <a:pt x="3194050" y="859631"/>
                      <a:pt x="3252787" y="895350"/>
                    </a:cubicBezTo>
                    <a:cubicBezTo>
                      <a:pt x="3311525" y="931069"/>
                      <a:pt x="3371850" y="967581"/>
                      <a:pt x="3419475" y="985837"/>
                    </a:cubicBezTo>
                    <a:cubicBezTo>
                      <a:pt x="3467100" y="1004093"/>
                      <a:pt x="3502818" y="1004490"/>
                      <a:pt x="3538537" y="1004887"/>
                    </a:cubicBezTo>
                  </a:path>
                </a:pathLst>
              </a:custGeom>
              <a:noFill/>
              <a:ln>
                <a:solidFill>
                  <a:schemeClr val="accent3">
                    <a:lumMod val="40000"/>
                    <a:lumOff val="60000"/>
                  </a:schemeClr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endParaRPr>
              </a:p>
            </p:txBody>
          </p:sp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id="{14D6A01F-D94F-485D-8B5D-9F0657B7AE4A}"/>
                  </a:ext>
                </a:extLst>
              </p:cNvPr>
              <p:cNvSpPr/>
              <p:nvPr/>
            </p:nvSpPr>
            <p:spPr>
              <a:xfrm>
                <a:off x="5915021" y="5412582"/>
                <a:ext cx="142875" cy="114300"/>
              </a:xfrm>
              <a:prstGeom prst="ellipse">
                <a:avLst/>
              </a:prstGeom>
              <a:solidFill>
                <a:schemeClr val="bg2">
                  <a:lumMod val="50000"/>
                </a:schemeClr>
              </a:solidFill>
              <a:ln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endParaRPr>
              </a:p>
            </p:txBody>
          </p:sp>
          <p:sp>
            <p:nvSpPr>
              <p:cNvPr id="106" name="Oval 105">
                <a:extLst>
                  <a:ext uri="{FF2B5EF4-FFF2-40B4-BE49-F238E27FC236}">
                    <a16:creationId xmlns:a16="http://schemas.microsoft.com/office/drawing/2014/main" id="{E926EEF4-B5A6-468D-B668-F8AB5A1E02F5}"/>
                  </a:ext>
                </a:extLst>
              </p:cNvPr>
              <p:cNvSpPr/>
              <p:nvPr/>
            </p:nvSpPr>
            <p:spPr>
              <a:xfrm>
                <a:off x="4732969" y="5544443"/>
                <a:ext cx="142875" cy="114300"/>
              </a:xfrm>
              <a:prstGeom prst="ellipse">
                <a:avLst/>
              </a:prstGeom>
              <a:solidFill>
                <a:schemeClr val="bg2">
                  <a:lumMod val="50000"/>
                </a:schemeClr>
              </a:solidFill>
              <a:ln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endParaRPr>
              </a:p>
            </p:txBody>
          </p:sp>
          <p:sp>
            <p:nvSpPr>
              <p:cNvPr id="107" name="Freeform: Shape 106">
                <a:extLst>
                  <a:ext uri="{FF2B5EF4-FFF2-40B4-BE49-F238E27FC236}">
                    <a16:creationId xmlns:a16="http://schemas.microsoft.com/office/drawing/2014/main" id="{CEE2FA28-1BC6-4890-8BF9-4480773EB041}"/>
                  </a:ext>
                </a:extLst>
              </p:cNvPr>
              <p:cNvSpPr/>
              <p:nvPr/>
            </p:nvSpPr>
            <p:spPr>
              <a:xfrm>
                <a:off x="4852988" y="5458783"/>
                <a:ext cx="1062037" cy="168896"/>
              </a:xfrm>
              <a:custGeom>
                <a:avLst/>
                <a:gdLst>
                  <a:gd name="connsiteX0" fmla="*/ 1062037 w 1062037"/>
                  <a:gd name="connsiteY0" fmla="*/ 6186 h 168896"/>
                  <a:gd name="connsiteX1" fmla="*/ 988218 w 1062037"/>
                  <a:gd name="connsiteY1" fmla="*/ 6186 h 168896"/>
                  <a:gd name="connsiteX2" fmla="*/ 914400 w 1062037"/>
                  <a:gd name="connsiteY2" fmla="*/ 70480 h 168896"/>
                  <a:gd name="connsiteX3" fmla="*/ 704850 w 1062037"/>
                  <a:gd name="connsiteY3" fmla="*/ 72861 h 168896"/>
                  <a:gd name="connsiteX4" fmla="*/ 557212 w 1062037"/>
                  <a:gd name="connsiteY4" fmla="*/ 51430 h 168896"/>
                  <a:gd name="connsiteX5" fmla="*/ 402431 w 1062037"/>
                  <a:gd name="connsiteY5" fmla="*/ 158586 h 168896"/>
                  <a:gd name="connsiteX6" fmla="*/ 0 w 1062037"/>
                  <a:gd name="connsiteY6" fmla="*/ 158586 h 1688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62037" h="168896">
                    <a:moveTo>
                      <a:pt x="1062037" y="6186"/>
                    </a:moveTo>
                    <a:cubicBezTo>
                      <a:pt x="1037430" y="828"/>
                      <a:pt x="1012824" y="-4530"/>
                      <a:pt x="988218" y="6186"/>
                    </a:cubicBezTo>
                    <a:cubicBezTo>
                      <a:pt x="963612" y="16902"/>
                      <a:pt x="961628" y="59368"/>
                      <a:pt x="914400" y="70480"/>
                    </a:cubicBezTo>
                    <a:cubicBezTo>
                      <a:pt x="867172" y="81593"/>
                      <a:pt x="764381" y="76036"/>
                      <a:pt x="704850" y="72861"/>
                    </a:cubicBezTo>
                    <a:cubicBezTo>
                      <a:pt x="645319" y="69686"/>
                      <a:pt x="607615" y="37143"/>
                      <a:pt x="557212" y="51430"/>
                    </a:cubicBezTo>
                    <a:cubicBezTo>
                      <a:pt x="506809" y="65717"/>
                      <a:pt x="495300" y="140727"/>
                      <a:pt x="402431" y="158586"/>
                    </a:cubicBezTo>
                    <a:cubicBezTo>
                      <a:pt x="309562" y="176445"/>
                      <a:pt x="154781" y="167515"/>
                      <a:pt x="0" y="158586"/>
                    </a:cubicBezTo>
                  </a:path>
                </a:pathLst>
              </a:custGeom>
              <a:solidFill>
                <a:srgbClr val="FFFFFF"/>
              </a:solidFill>
              <a:ln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endParaRPr>
              </a:p>
            </p:txBody>
          </p:sp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id="{5B59AF56-1C0E-4224-A884-1E2F4291D6C9}"/>
                  </a:ext>
                </a:extLst>
              </p:cNvPr>
              <p:cNvSpPr/>
              <p:nvPr/>
            </p:nvSpPr>
            <p:spPr>
              <a:xfrm>
                <a:off x="5545747" y="4793473"/>
                <a:ext cx="142875" cy="114300"/>
              </a:xfrm>
              <a:prstGeom prst="ellipse">
                <a:avLst/>
              </a:prstGeom>
              <a:solidFill>
                <a:srgbClr val="FBCE07"/>
              </a:solidFill>
              <a:ln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endParaRPr>
              </a:p>
            </p:txBody>
          </p:sp>
          <p:sp>
            <p:nvSpPr>
              <p:cNvPr id="110" name="Freeform: Shape 109">
                <a:extLst>
                  <a:ext uri="{FF2B5EF4-FFF2-40B4-BE49-F238E27FC236}">
                    <a16:creationId xmlns:a16="http://schemas.microsoft.com/office/drawing/2014/main" id="{7A0C4D8E-50AE-4FA6-B84E-923AFDFA4DDB}"/>
                  </a:ext>
                </a:extLst>
              </p:cNvPr>
              <p:cNvSpPr/>
              <p:nvPr/>
            </p:nvSpPr>
            <p:spPr>
              <a:xfrm>
                <a:off x="5721350" y="5556250"/>
                <a:ext cx="68576" cy="403225"/>
              </a:xfrm>
              <a:custGeom>
                <a:avLst/>
                <a:gdLst>
                  <a:gd name="connsiteX0" fmla="*/ 53975 w 68576"/>
                  <a:gd name="connsiteY0" fmla="*/ 0 h 403225"/>
                  <a:gd name="connsiteX1" fmla="*/ 63500 w 68576"/>
                  <a:gd name="connsiteY1" fmla="*/ 190500 h 403225"/>
                  <a:gd name="connsiteX2" fmla="*/ 63500 w 68576"/>
                  <a:gd name="connsiteY2" fmla="*/ 311150 h 403225"/>
                  <a:gd name="connsiteX3" fmla="*/ 0 w 68576"/>
                  <a:gd name="connsiteY3" fmla="*/ 403225 h 403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576" h="403225">
                    <a:moveTo>
                      <a:pt x="53975" y="0"/>
                    </a:moveTo>
                    <a:cubicBezTo>
                      <a:pt x="57944" y="69321"/>
                      <a:pt x="61913" y="138642"/>
                      <a:pt x="63500" y="190500"/>
                    </a:cubicBezTo>
                    <a:cubicBezTo>
                      <a:pt x="65088" y="242358"/>
                      <a:pt x="74083" y="275696"/>
                      <a:pt x="63500" y="311150"/>
                    </a:cubicBezTo>
                    <a:cubicBezTo>
                      <a:pt x="52917" y="346604"/>
                      <a:pt x="26458" y="374914"/>
                      <a:pt x="0" y="403225"/>
                    </a:cubicBezTo>
                  </a:path>
                </a:pathLst>
              </a:custGeom>
              <a:noFill/>
              <a:ln>
                <a:solidFill>
                  <a:srgbClr val="00B050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endParaRPr>
              </a:p>
            </p:txBody>
          </p: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E459B890-BC6A-424B-BB0E-D32E1A52CD71}"/>
                  </a:ext>
                </a:extLst>
              </p:cNvPr>
              <p:cNvSpPr/>
              <p:nvPr/>
            </p:nvSpPr>
            <p:spPr>
              <a:xfrm>
                <a:off x="5698330" y="5474494"/>
                <a:ext cx="142875" cy="114300"/>
              </a:xfrm>
              <a:prstGeom prst="ellipse">
                <a:avLst/>
              </a:prstGeom>
              <a:solidFill>
                <a:schemeClr val="bg2">
                  <a:lumMod val="50000"/>
                </a:schemeClr>
              </a:solidFill>
              <a:ln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endParaRPr>
              </a:p>
            </p:txBody>
          </p:sp>
        </p:grp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82F8B358-38FA-4EB0-B390-007ACA7AA0D9}"/>
                </a:ext>
              </a:extLst>
            </p:cNvPr>
            <p:cNvSpPr txBox="1"/>
            <p:nvPr/>
          </p:nvSpPr>
          <p:spPr bwMode="auto">
            <a:xfrm>
              <a:off x="7049712" y="5019665"/>
              <a:ext cx="744025" cy="11657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D7D31"/>
                </a:buClr>
                <a:buSzPct val="85000"/>
                <a:buFontTx/>
                <a:buNone/>
                <a:tabLst/>
                <a:defRPr/>
              </a:pPr>
              <a:r>
                <a: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  <a:t>40”</a:t>
              </a:r>
              <a:endPara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0B6F048C-687B-4ABB-84D3-A0BB49E27C03}"/>
                </a:ext>
              </a:extLst>
            </p:cNvPr>
            <p:cNvSpPr txBox="1"/>
            <p:nvPr/>
          </p:nvSpPr>
          <p:spPr bwMode="auto">
            <a:xfrm>
              <a:off x="6165763" y="5334301"/>
              <a:ext cx="744025" cy="11657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D7D31"/>
                </a:buClr>
                <a:buSzPct val="85000"/>
                <a:buFontTx/>
                <a:buNone/>
                <a:tabLst/>
                <a:defRPr/>
              </a:pPr>
              <a:r>
                <a: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  <a:t>30”</a:t>
              </a:r>
              <a:endPara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636D041A-2E79-457A-913D-A95D3D44CC5C}"/>
                </a:ext>
              </a:extLst>
            </p:cNvPr>
            <p:cNvSpPr txBox="1"/>
            <p:nvPr/>
          </p:nvSpPr>
          <p:spPr bwMode="auto">
            <a:xfrm>
              <a:off x="5473068" y="5543075"/>
              <a:ext cx="479652" cy="28674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D7D31"/>
                </a:buClr>
                <a:buSzPct val="85000"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  <a:t>San Barth MF</a:t>
              </a:r>
              <a:endPara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31A40316-4C6A-442B-AA06-452A6FE47FE8}"/>
                </a:ext>
              </a:extLst>
            </p:cNvPr>
            <p:cNvSpPr txBox="1"/>
            <p:nvPr/>
          </p:nvSpPr>
          <p:spPr bwMode="auto">
            <a:xfrm>
              <a:off x="4218186" y="5272528"/>
              <a:ext cx="296581" cy="28674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D7D31"/>
                </a:buClr>
                <a:buSzPct val="85000"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  <a:t>Nembe</a:t>
              </a: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  <a:t> Ck</a:t>
              </a: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3F7BDE4F-2062-4F3A-9F91-2EDCE12FE626}"/>
                </a:ext>
              </a:extLst>
            </p:cNvPr>
            <p:cNvSpPr txBox="1"/>
            <p:nvPr/>
          </p:nvSpPr>
          <p:spPr bwMode="auto">
            <a:xfrm>
              <a:off x="5138298" y="5188662"/>
              <a:ext cx="265562" cy="28674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D7D31"/>
                </a:buClr>
                <a:buSzPct val="85000"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  <a:t>Sego MF</a:t>
              </a:r>
            </a:p>
          </p:txBody>
        </p:sp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73648347-5084-4BCF-94F7-C0DDFFF0A1A9}"/>
                </a:ext>
              </a:extLst>
            </p:cNvPr>
            <p:cNvSpPr/>
            <p:nvPr/>
          </p:nvSpPr>
          <p:spPr>
            <a:xfrm>
              <a:off x="5996240" y="5272528"/>
              <a:ext cx="142875" cy="130611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6EF79A61-A5DA-4CB2-8148-DDC05ADC95FE}"/>
                </a:ext>
              </a:extLst>
            </p:cNvPr>
            <p:cNvSpPr/>
            <p:nvPr/>
          </p:nvSpPr>
          <p:spPr>
            <a:xfrm>
              <a:off x="7753180" y="5182404"/>
              <a:ext cx="142875" cy="130611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BBCECAAD-AED1-4625-BA5D-210B9922CAA4}"/>
                </a:ext>
              </a:extLst>
            </p:cNvPr>
            <p:cNvSpPr txBox="1"/>
            <p:nvPr/>
          </p:nvSpPr>
          <p:spPr bwMode="auto">
            <a:xfrm>
              <a:off x="5909635" y="5006352"/>
              <a:ext cx="277518" cy="21544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3577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D7D31"/>
                </a:buClr>
                <a:buSzPct val="85000"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  <a:t>Awoba MF</a:t>
              </a:r>
              <a:endPara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E0AD8FE2-BCEC-4AEB-AE9B-E6D4856B162A}"/>
                </a:ext>
              </a:extLst>
            </p:cNvPr>
            <p:cNvSpPr txBox="1"/>
            <p:nvPr/>
          </p:nvSpPr>
          <p:spPr bwMode="auto">
            <a:xfrm>
              <a:off x="6879922" y="5396469"/>
              <a:ext cx="365977" cy="28674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D7D31"/>
                </a:buClr>
                <a:buSzPct val="85000"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  <a:t>Krakama MF</a:t>
              </a:r>
              <a:endPara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B0DD2A51-4612-4569-9D61-9D99D3D386F2}"/>
                </a:ext>
              </a:extLst>
            </p:cNvPr>
            <p:cNvSpPr txBox="1"/>
            <p:nvPr/>
          </p:nvSpPr>
          <p:spPr bwMode="auto">
            <a:xfrm>
              <a:off x="7573982" y="5359988"/>
              <a:ext cx="438449" cy="21544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3577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D7D31"/>
                </a:buClr>
                <a:buSzPct val="85000"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  <a:t>CawC Jn MF</a:t>
              </a:r>
              <a:endPara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  <p:sp>
          <p:nvSpPr>
            <p:cNvPr id="101" name="Oval 100">
              <a:extLst>
                <a:ext uri="{FF2B5EF4-FFF2-40B4-BE49-F238E27FC236}">
                  <a16:creationId xmlns:a16="http://schemas.microsoft.com/office/drawing/2014/main" id="{1F461B54-EA8E-495E-A74E-8921EEC664DD}"/>
                </a:ext>
              </a:extLst>
            </p:cNvPr>
            <p:cNvSpPr/>
            <p:nvPr/>
          </p:nvSpPr>
          <p:spPr>
            <a:xfrm>
              <a:off x="6974884" y="5245313"/>
              <a:ext cx="142875" cy="130611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A439AEF7-1501-483D-B1C0-DD0A6BCEA4DA}"/>
                </a:ext>
              </a:extLst>
            </p:cNvPr>
            <p:cNvSpPr txBox="1"/>
            <p:nvPr/>
          </p:nvSpPr>
          <p:spPr bwMode="auto">
            <a:xfrm>
              <a:off x="5114831" y="5987319"/>
              <a:ext cx="365977" cy="28674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357708" rtl="0" eaLnBrk="1" fontAlgn="auto" latinLnBrk="0" hangingPunct="1">
                <a:lnSpc>
                  <a:spcPct val="14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D7D31"/>
                </a:buClr>
                <a:buSzPct val="85000"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  <a:t>Belema FS</a:t>
              </a:r>
              <a:endPara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</p:grpSp>
      <p:sp>
        <p:nvSpPr>
          <p:cNvPr id="114" name="Freeform: Shape 113">
            <a:extLst>
              <a:ext uri="{FF2B5EF4-FFF2-40B4-BE49-F238E27FC236}">
                <a16:creationId xmlns:a16="http://schemas.microsoft.com/office/drawing/2014/main" id="{7B684C79-21AE-4FA7-93C7-463ECC341BFA}"/>
              </a:ext>
            </a:extLst>
          </p:cNvPr>
          <p:cNvSpPr/>
          <p:nvPr/>
        </p:nvSpPr>
        <p:spPr>
          <a:xfrm>
            <a:off x="5758707" y="2260018"/>
            <a:ext cx="694154" cy="1608078"/>
          </a:xfrm>
          <a:custGeom>
            <a:avLst/>
            <a:gdLst>
              <a:gd name="connsiteX0" fmla="*/ 694154 w 694154"/>
              <a:gd name="connsiteY0" fmla="*/ 0 h 1608078"/>
              <a:gd name="connsiteX1" fmla="*/ 611604 w 694154"/>
              <a:gd name="connsiteY1" fmla="*/ 254000 h 1608078"/>
              <a:gd name="connsiteX2" fmla="*/ 487779 w 694154"/>
              <a:gd name="connsiteY2" fmla="*/ 555625 h 1608078"/>
              <a:gd name="connsiteX3" fmla="*/ 459204 w 694154"/>
              <a:gd name="connsiteY3" fmla="*/ 692150 h 1608078"/>
              <a:gd name="connsiteX4" fmla="*/ 370304 w 694154"/>
              <a:gd name="connsiteY4" fmla="*/ 889000 h 1608078"/>
              <a:gd name="connsiteX5" fmla="*/ 256004 w 694154"/>
              <a:gd name="connsiteY5" fmla="*/ 1069975 h 1608078"/>
              <a:gd name="connsiteX6" fmla="*/ 81379 w 694154"/>
              <a:gd name="connsiteY6" fmla="*/ 1289050 h 1608078"/>
              <a:gd name="connsiteX7" fmla="*/ 49629 w 694154"/>
              <a:gd name="connsiteY7" fmla="*/ 1377950 h 1608078"/>
              <a:gd name="connsiteX8" fmla="*/ 33754 w 694154"/>
              <a:gd name="connsiteY8" fmla="*/ 1539875 h 1608078"/>
              <a:gd name="connsiteX9" fmla="*/ 2004 w 694154"/>
              <a:gd name="connsiteY9" fmla="*/ 1603375 h 1608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94154" h="1608078">
                <a:moveTo>
                  <a:pt x="694154" y="0"/>
                </a:moveTo>
                <a:cubicBezTo>
                  <a:pt x="670077" y="80698"/>
                  <a:pt x="646000" y="161396"/>
                  <a:pt x="611604" y="254000"/>
                </a:cubicBezTo>
                <a:cubicBezTo>
                  <a:pt x="577208" y="346604"/>
                  <a:pt x="513179" y="482600"/>
                  <a:pt x="487779" y="555625"/>
                </a:cubicBezTo>
                <a:cubicBezTo>
                  <a:pt x="462379" y="628650"/>
                  <a:pt x="478783" y="636588"/>
                  <a:pt x="459204" y="692150"/>
                </a:cubicBezTo>
                <a:cubicBezTo>
                  <a:pt x="439625" y="747713"/>
                  <a:pt x="404171" y="826029"/>
                  <a:pt x="370304" y="889000"/>
                </a:cubicBezTo>
                <a:cubicBezTo>
                  <a:pt x="336437" y="951971"/>
                  <a:pt x="304158" y="1003300"/>
                  <a:pt x="256004" y="1069975"/>
                </a:cubicBezTo>
                <a:cubicBezTo>
                  <a:pt x="207850" y="1136650"/>
                  <a:pt x="115775" y="1237721"/>
                  <a:pt x="81379" y="1289050"/>
                </a:cubicBezTo>
                <a:cubicBezTo>
                  <a:pt x="46983" y="1340379"/>
                  <a:pt x="57566" y="1336146"/>
                  <a:pt x="49629" y="1377950"/>
                </a:cubicBezTo>
                <a:cubicBezTo>
                  <a:pt x="41692" y="1419754"/>
                  <a:pt x="41691" y="1502304"/>
                  <a:pt x="33754" y="1539875"/>
                </a:cubicBezTo>
                <a:cubicBezTo>
                  <a:pt x="25817" y="1577446"/>
                  <a:pt x="-8579" y="1622954"/>
                  <a:pt x="2004" y="1603375"/>
                </a:cubicBezTo>
              </a:path>
            </a:pathLst>
          </a:custGeom>
          <a:noFill/>
          <a:ln>
            <a:solidFill>
              <a:srgbClr val="00B05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22" name="Freeform: Shape 121">
            <a:extLst>
              <a:ext uri="{FF2B5EF4-FFF2-40B4-BE49-F238E27FC236}">
                <a16:creationId xmlns:a16="http://schemas.microsoft.com/office/drawing/2014/main" id="{A1189E85-E70B-4855-B240-0DB9FE102DEE}"/>
              </a:ext>
            </a:extLst>
          </p:cNvPr>
          <p:cNvSpPr/>
          <p:nvPr/>
        </p:nvSpPr>
        <p:spPr>
          <a:xfrm>
            <a:off x="5698144" y="619169"/>
            <a:ext cx="518160" cy="746769"/>
          </a:xfrm>
          <a:custGeom>
            <a:avLst/>
            <a:gdLst>
              <a:gd name="connsiteX0" fmla="*/ 518160 w 518160"/>
              <a:gd name="connsiteY0" fmla="*/ 746769 h 746769"/>
              <a:gd name="connsiteX1" fmla="*/ 464820 w 518160"/>
              <a:gd name="connsiteY1" fmla="*/ 472449 h 746769"/>
              <a:gd name="connsiteX2" fmla="*/ 335280 w 518160"/>
              <a:gd name="connsiteY2" fmla="*/ 76209 h 746769"/>
              <a:gd name="connsiteX3" fmla="*/ 0 w 518160"/>
              <a:gd name="connsiteY3" fmla="*/ 9 h 746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8160" h="746769">
                <a:moveTo>
                  <a:pt x="518160" y="746769"/>
                </a:moveTo>
                <a:cubicBezTo>
                  <a:pt x="506730" y="665489"/>
                  <a:pt x="495300" y="584209"/>
                  <a:pt x="464820" y="472449"/>
                </a:cubicBezTo>
                <a:cubicBezTo>
                  <a:pt x="434340" y="360689"/>
                  <a:pt x="412750" y="154949"/>
                  <a:pt x="335280" y="76209"/>
                </a:cubicBezTo>
                <a:cubicBezTo>
                  <a:pt x="257810" y="-2531"/>
                  <a:pt x="0" y="9"/>
                  <a:pt x="0" y="9"/>
                </a:cubicBezTo>
              </a:path>
            </a:pathLst>
          </a:custGeom>
          <a:noFill/>
          <a:ln>
            <a:solidFill>
              <a:srgbClr val="00B05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1FF4777E-EE33-40E6-BB34-A02B2F234847}"/>
              </a:ext>
            </a:extLst>
          </p:cNvPr>
          <p:cNvSpPr txBox="1"/>
          <p:nvPr/>
        </p:nvSpPr>
        <p:spPr bwMode="auto">
          <a:xfrm>
            <a:off x="5201410" y="542979"/>
            <a:ext cx="426354" cy="13593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Pct val="85000"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Oguta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31" name="Freeform: Shape 130">
            <a:extLst>
              <a:ext uri="{FF2B5EF4-FFF2-40B4-BE49-F238E27FC236}">
                <a16:creationId xmlns:a16="http://schemas.microsoft.com/office/drawing/2014/main" id="{4C76EF63-CB1A-4E4F-9A00-15352D2F3000}"/>
              </a:ext>
            </a:extLst>
          </p:cNvPr>
          <p:cNvSpPr/>
          <p:nvPr/>
        </p:nvSpPr>
        <p:spPr>
          <a:xfrm>
            <a:off x="7825385" y="4258571"/>
            <a:ext cx="1000182" cy="593228"/>
          </a:xfrm>
          <a:custGeom>
            <a:avLst/>
            <a:gdLst>
              <a:gd name="connsiteX0" fmla="*/ 0 w 876300"/>
              <a:gd name="connsiteY0" fmla="*/ 0 h 520700"/>
              <a:gd name="connsiteX1" fmla="*/ 152400 w 876300"/>
              <a:gd name="connsiteY1" fmla="*/ 66675 h 520700"/>
              <a:gd name="connsiteX2" fmla="*/ 365125 w 876300"/>
              <a:gd name="connsiteY2" fmla="*/ 187325 h 520700"/>
              <a:gd name="connsiteX3" fmla="*/ 473075 w 876300"/>
              <a:gd name="connsiteY3" fmla="*/ 269875 h 520700"/>
              <a:gd name="connsiteX4" fmla="*/ 555625 w 876300"/>
              <a:gd name="connsiteY4" fmla="*/ 327025 h 520700"/>
              <a:gd name="connsiteX5" fmla="*/ 660400 w 876300"/>
              <a:gd name="connsiteY5" fmla="*/ 419100 h 520700"/>
              <a:gd name="connsiteX6" fmla="*/ 800100 w 876300"/>
              <a:gd name="connsiteY6" fmla="*/ 482600 h 520700"/>
              <a:gd name="connsiteX7" fmla="*/ 876300 w 876300"/>
              <a:gd name="connsiteY7" fmla="*/ 520700 h 520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6300" h="520700">
                <a:moveTo>
                  <a:pt x="0" y="0"/>
                </a:moveTo>
                <a:cubicBezTo>
                  <a:pt x="45773" y="17727"/>
                  <a:pt x="91546" y="35454"/>
                  <a:pt x="152400" y="66675"/>
                </a:cubicBezTo>
                <a:cubicBezTo>
                  <a:pt x="213254" y="97896"/>
                  <a:pt x="311679" y="153458"/>
                  <a:pt x="365125" y="187325"/>
                </a:cubicBezTo>
                <a:cubicBezTo>
                  <a:pt x="418571" y="221192"/>
                  <a:pt x="441325" y="246592"/>
                  <a:pt x="473075" y="269875"/>
                </a:cubicBezTo>
                <a:cubicBezTo>
                  <a:pt x="504825" y="293158"/>
                  <a:pt x="524404" y="302154"/>
                  <a:pt x="555625" y="327025"/>
                </a:cubicBezTo>
                <a:cubicBezTo>
                  <a:pt x="586846" y="351896"/>
                  <a:pt x="619654" y="393171"/>
                  <a:pt x="660400" y="419100"/>
                </a:cubicBezTo>
                <a:cubicBezTo>
                  <a:pt x="701146" y="445029"/>
                  <a:pt x="764117" y="465667"/>
                  <a:pt x="800100" y="482600"/>
                </a:cubicBezTo>
                <a:cubicBezTo>
                  <a:pt x="836083" y="499533"/>
                  <a:pt x="868363" y="514879"/>
                  <a:pt x="876300" y="520700"/>
                </a:cubicBezTo>
              </a:path>
            </a:pathLst>
          </a:custGeom>
          <a:noFill/>
          <a:ln>
            <a:solidFill>
              <a:srgbClr val="00B05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257" name="Rectangle 256">
            <a:extLst>
              <a:ext uri="{FF2B5EF4-FFF2-40B4-BE49-F238E27FC236}">
                <a16:creationId xmlns:a16="http://schemas.microsoft.com/office/drawing/2014/main" id="{FF6E2D16-3B0B-4376-97AD-81072FF87532}"/>
              </a:ext>
            </a:extLst>
          </p:cNvPr>
          <p:cNvSpPr/>
          <p:nvPr/>
        </p:nvSpPr>
        <p:spPr>
          <a:xfrm>
            <a:off x="8745211" y="6317805"/>
            <a:ext cx="269875" cy="165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294" name="TextBox 293">
            <a:extLst>
              <a:ext uri="{FF2B5EF4-FFF2-40B4-BE49-F238E27FC236}">
                <a16:creationId xmlns:a16="http://schemas.microsoft.com/office/drawing/2014/main" id="{8772DC79-C335-432D-9773-F183948C56BE}"/>
              </a:ext>
            </a:extLst>
          </p:cNvPr>
          <p:cNvSpPr txBox="1"/>
          <p:nvPr/>
        </p:nvSpPr>
        <p:spPr bwMode="auto">
          <a:xfrm>
            <a:off x="5254276" y="5147000"/>
            <a:ext cx="265562" cy="13593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Pct val="85000"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Soku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520" name="Pentagon 519">
            <a:extLst>
              <a:ext uri="{FF2B5EF4-FFF2-40B4-BE49-F238E27FC236}">
                <a16:creationId xmlns:a16="http://schemas.microsoft.com/office/drawing/2014/main" id="{964D1C40-A6B2-471E-B062-F79B0B96A7DC}"/>
              </a:ext>
            </a:extLst>
          </p:cNvPr>
          <p:cNvSpPr/>
          <p:nvPr/>
        </p:nvSpPr>
        <p:spPr>
          <a:xfrm>
            <a:off x="8590073" y="3641451"/>
            <a:ext cx="120739" cy="102980"/>
          </a:xfrm>
          <a:prstGeom prst="pentagon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99D7A216-B2EA-48BD-863B-74BCC0A00725}"/>
              </a:ext>
            </a:extLst>
          </p:cNvPr>
          <p:cNvSpPr/>
          <p:nvPr/>
        </p:nvSpPr>
        <p:spPr>
          <a:xfrm>
            <a:off x="8697485" y="3714735"/>
            <a:ext cx="157244" cy="59546"/>
          </a:xfrm>
          <a:custGeom>
            <a:avLst/>
            <a:gdLst>
              <a:gd name="connsiteX0" fmla="*/ 0 w 133350"/>
              <a:gd name="connsiteY0" fmla="*/ 0 h 61912"/>
              <a:gd name="connsiteX1" fmla="*/ 80963 w 133350"/>
              <a:gd name="connsiteY1" fmla="*/ 21431 h 61912"/>
              <a:gd name="connsiteX2" fmla="*/ 133350 w 133350"/>
              <a:gd name="connsiteY2" fmla="*/ 61912 h 61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3350" h="61912">
                <a:moveTo>
                  <a:pt x="0" y="0"/>
                </a:moveTo>
                <a:cubicBezTo>
                  <a:pt x="29369" y="5556"/>
                  <a:pt x="58738" y="11112"/>
                  <a:pt x="80963" y="21431"/>
                </a:cubicBezTo>
                <a:cubicBezTo>
                  <a:pt x="103188" y="31750"/>
                  <a:pt x="118269" y="46831"/>
                  <a:pt x="133350" y="61912"/>
                </a:cubicBezTo>
              </a:path>
            </a:pathLst>
          </a:cu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752" name="TextBox 751">
            <a:extLst>
              <a:ext uri="{FF2B5EF4-FFF2-40B4-BE49-F238E27FC236}">
                <a16:creationId xmlns:a16="http://schemas.microsoft.com/office/drawing/2014/main" id="{C5C45612-1670-426A-9EE3-50C6F92D4FF1}"/>
              </a:ext>
            </a:extLst>
          </p:cNvPr>
          <p:cNvSpPr txBox="1"/>
          <p:nvPr/>
        </p:nvSpPr>
        <p:spPr bwMode="auto">
          <a:xfrm>
            <a:off x="8934301" y="3833953"/>
            <a:ext cx="226028" cy="5828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Pct val="85000"/>
              <a:buFontTx/>
              <a:buNone/>
              <a:tabLst/>
              <a:defRPr/>
            </a:pPr>
            <a:r>
              <a:rPr kumimoji="0" lang="en-US" sz="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11ICs</a:t>
            </a:r>
          </a:p>
        </p:txBody>
      </p:sp>
      <p:sp>
        <p:nvSpPr>
          <p:cNvPr id="755" name="Pentagon 754">
            <a:extLst>
              <a:ext uri="{FF2B5EF4-FFF2-40B4-BE49-F238E27FC236}">
                <a16:creationId xmlns:a16="http://schemas.microsoft.com/office/drawing/2014/main" id="{BBC71539-A8E2-4E37-BB33-4753F408159F}"/>
              </a:ext>
            </a:extLst>
          </p:cNvPr>
          <p:cNvSpPr/>
          <p:nvPr/>
        </p:nvSpPr>
        <p:spPr>
          <a:xfrm>
            <a:off x="9298536" y="4183722"/>
            <a:ext cx="120739" cy="102980"/>
          </a:xfrm>
          <a:prstGeom prst="pentagon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756" name="TextBox 755">
            <a:extLst>
              <a:ext uri="{FF2B5EF4-FFF2-40B4-BE49-F238E27FC236}">
                <a16:creationId xmlns:a16="http://schemas.microsoft.com/office/drawing/2014/main" id="{E36BCD6F-6FF8-4E1C-84CF-3D8672802802}"/>
              </a:ext>
            </a:extLst>
          </p:cNvPr>
          <p:cNvSpPr txBox="1"/>
          <p:nvPr/>
        </p:nvSpPr>
        <p:spPr bwMode="auto">
          <a:xfrm>
            <a:off x="9349102" y="4259523"/>
            <a:ext cx="540824" cy="13593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Pct val="85000"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Isimiri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 FS</a:t>
            </a:r>
          </a:p>
        </p:txBody>
      </p:sp>
      <p:sp>
        <p:nvSpPr>
          <p:cNvPr id="758" name="Oval 757">
            <a:extLst>
              <a:ext uri="{FF2B5EF4-FFF2-40B4-BE49-F238E27FC236}">
                <a16:creationId xmlns:a16="http://schemas.microsoft.com/office/drawing/2014/main" id="{6E7260F3-8166-4C1E-99D5-4EF07CDE7E68}"/>
              </a:ext>
            </a:extLst>
          </p:cNvPr>
          <p:cNvSpPr/>
          <p:nvPr/>
        </p:nvSpPr>
        <p:spPr>
          <a:xfrm>
            <a:off x="1547486" y="5260393"/>
            <a:ext cx="142875" cy="1143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759" name="Oval 758">
            <a:extLst>
              <a:ext uri="{FF2B5EF4-FFF2-40B4-BE49-F238E27FC236}">
                <a16:creationId xmlns:a16="http://schemas.microsoft.com/office/drawing/2014/main" id="{BA9CEE5D-94ED-4003-97E7-4C31C134E7F3}"/>
              </a:ext>
            </a:extLst>
          </p:cNvPr>
          <p:cNvSpPr/>
          <p:nvPr/>
        </p:nvSpPr>
        <p:spPr>
          <a:xfrm>
            <a:off x="1690361" y="4631743"/>
            <a:ext cx="142875" cy="1143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760" name="Oval 759">
            <a:extLst>
              <a:ext uri="{FF2B5EF4-FFF2-40B4-BE49-F238E27FC236}">
                <a16:creationId xmlns:a16="http://schemas.microsoft.com/office/drawing/2014/main" id="{BE5DF921-6707-439A-806E-38EE179C78C1}"/>
              </a:ext>
            </a:extLst>
          </p:cNvPr>
          <p:cNvSpPr/>
          <p:nvPr/>
        </p:nvSpPr>
        <p:spPr>
          <a:xfrm>
            <a:off x="3208011" y="3851400"/>
            <a:ext cx="142875" cy="1143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761" name="Oval 760">
            <a:extLst>
              <a:ext uri="{FF2B5EF4-FFF2-40B4-BE49-F238E27FC236}">
                <a16:creationId xmlns:a16="http://schemas.microsoft.com/office/drawing/2014/main" id="{EAED673F-F6C8-4A45-ACC9-C52B1A1C5315}"/>
              </a:ext>
            </a:extLst>
          </p:cNvPr>
          <p:cNvSpPr/>
          <p:nvPr/>
        </p:nvSpPr>
        <p:spPr>
          <a:xfrm>
            <a:off x="4065261" y="3089400"/>
            <a:ext cx="142875" cy="1143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762" name="Oval 761">
            <a:extLst>
              <a:ext uri="{FF2B5EF4-FFF2-40B4-BE49-F238E27FC236}">
                <a16:creationId xmlns:a16="http://schemas.microsoft.com/office/drawing/2014/main" id="{3E487810-B351-44B1-BD18-F65B69F770C4}"/>
              </a:ext>
            </a:extLst>
          </p:cNvPr>
          <p:cNvSpPr/>
          <p:nvPr/>
        </p:nvSpPr>
        <p:spPr>
          <a:xfrm>
            <a:off x="6136051" y="1366454"/>
            <a:ext cx="142875" cy="1143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763" name="Oval 762">
            <a:extLst>
              <a:ext uri="{FF2B5EF4-FFF2-40B4-BE49-F238E27FC236}">
                <a16:creationId xmlns:a16="http://schemas.microsoft.com/office/drawing/2014/main" id="{4CE70FB6-7462-4E29-985B-0A8266B5CBE2}"/>
              </a:ext>
            </a:extLst>
          </p:cNvPr>
          <p:cNvSpPr/>
          <p:nvPr/>
        </p:nvSpPr>
        <p:spPr>
          <a:xfrm>
            <a:off x="6370311" y="2152775"/>
            <a:ext cx="142875" cy="1143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765" name="Oval 764">
            <a:extLst>
              <a:ext uri="{FF2B5EF4-FFF2-40B4-BE49-F238E27FC236}">
                <a16:creationId xmlns:a16="http://schemas.microsoft.com/office/drawing/2014/main" id="{3404FF16-E5CC-4DA3-802E-42CA88CB4E3E}"/>
              </a:ext>
            </a:extLst>
          </p:cNvPr>
          <p:cNvSpPr/>
          <p:nvPr/>
        </p:nvSpPr>
        <p:spPr>
          <a:xfrm>
            <a:off x="8707092" y="4753981"/>
            <a:ext cx="134956" cy="12858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766" name="Oval 765">
            <a:extLst>
              <a:ext uri="{FF2B5EF4-FFF2-40B4-BE49-F238E27FC236}">
                <a16:creationId xmlns:a16="http://schemas.microsoft.com/office/drawing/2014/main" id="{841FDA05-F4A4-4BE2-8215-F542AA2C0A68}"/>
              </a:ext>
            </a:extLst>
          </p:cNvPr>
          <p:cNvSpPr/>
          <p:nvPr/>
        </p:nvSpPr>
        <p:spPr>
          <a:xfrm>
            <a:off x="8770611" y="4603168"/>
            <a:ext cx="142875" cy="1143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767" name="Oval 766">
            <a:extLst>
              <a:ext uri="{FF2B5EF4-FFF2-40B4-BE49-F238E27FC236}">
                <a16:creationId xmlns:a16="http://schemas.microsoft.com/office/drawing/2014/main" id="{595D0F9A-5467-4A14-B8AA-53F5624E2551}"/>
              </a:ext>
            </a:extLst>
          </p:cNvPr>
          <p:cNvSpPr/>
          <p:nvPr/>
        </p:nvSpPr>
        <p:spPr>
          <a:xfrm>
            <a:off x="3423911" y="4199943"/>
            <a:ext cx="142875" cy="1143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768" name="Oval 767">
            <a:extLst>
              <a:ext uri="{FF2B5EF4-FFF2-40B4-BE49-F238E27FC236}">
                <a16:creationId xmlns:a16="http://schemas.microsoft.com/office/drawing/2014/main" id="{657150A8-3AC6-4853-9739-3E6E7FE01D9F}"/>
              </a:ext>
            </a:extLst>
          </p:cNvPr>
          <p:cNvSpPr/>
          <p:nvPr/>
        </p:nvSpPr>
        <p:spPr>
          <a:xfrm>
            <a:off x="5643236" y="3851400"/>
            <a:ext cx="142875" cy="1143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769" name="Oval 768">
            <a:extLst>
              <a:ext uri="{FF2B5EF4-FFF2-40B4-BE49-F238E27FC236}">
                <a16:creationId xmlns:a16="http://schemas.microsoft.com/office/drawing/2014/main" id="{F189AC85-C602-4577-8076-CB5D77F60635}"/>
              </a:ext>
            </a:extLst>
          </p:cNvPr>
          <p:cNvSpPr/>
          <p:nvPr/>
        </p:nvSpPr>
        <p:spPr>
          <a:xfrm>
            <a:off x="5606723" y="582895"/>
            <a:ext cx="142875" cy="1143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770" name="Oval 769">
            <a:extLst>
              <a:ext uri="{FF2B5EF4-FFF2-40B4-BE49-F238E27FC236}">
                <a16:creationId xmlns:a16="http://schemas.microsoft.com/office/drawing/2014/main" id="{15A5C71B-F2A8-41A1-844D-84E466EE4350}"/>
              </a:ext>
            </a:extLst>
          </p:cNvPr>
          <p:cNvSpPr/>
          <p:nvPr/>
        </p:nvSpPr>
        <p:spPr>
          <a:xfrm>
            <a:off x="7737148" y="4154525"/>
            <a:ext cx="142875" cy="1143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771" name="Oval 770">
            <a:extLst>
              <a:ext uri="{FF2B5EF4-FFF2-40B4-BE49-F238E27FC236}">
                <a16:creationId xmlns:a16="http://schemas.microsoft.com/office/drawing/2014/main" id="{BBE525FB-3759-4C1E-B197-B4FCCBEBAEA5}"/>
              </a:ext>
            </a:extLst>
          </p:cNvPr>
          <p:cNvSpPr/>
          <p:nvPr/>
        </p:nvSpPr>
        <p:spPr>
          <a:xfrm>
            <a:off x="8981061" y="3924358"/>
            <a:ext cx="142875" cy="1143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772" name="Oval 771">
            <a:extLst>
              <a:ext uri="{FF2B5EF4-FFF2-40B4-BE49-F238E27FC236}">
                <a16:creationId xmlns:a16="http://schemas.microsoft.com/office/drawing/2014/main" id="{8BE1A05F-85F6-437C-9B59-08E9C4E52BB7}"/>
              </a:ext>
            </a:extLst>
          </p:cNvPr>
          <p:cNvSpPr/>
          <p:nvPr/>
        </p:nvSpPr>
        <p:spPr>
          <a:xfrm>
            <a:off x="8833317" y="3752665"/>
            <a:ext cx="142875" cy="1143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3EAB056-E1C8-4459-8378-B185AE4FE205}"/>
              </a:ext>
            </a:extLst>
          </p:cNvPr>
          <p:cNvGrpSpPr/>
          <p:nvPr/>
        </p:nvGrpSpPr>
        <p:grpSpPr>
          <a:xfrm>
            <a:off x="3589844" y="827177"/>
            <a:ext cx="6174064" cy="5471862"/>
            <a:chOff x="3431440" y="827177"/>
            <a:chExt cx="6174064" cy="5471862"/>
          </a:xfrm>
        </p:grpSpPr>
        <p:grpSp>
          <p:nvGrpSpPr>
            <p:cNvPr id="773" name="Group 772">
              <a:extLst>
                <a:ext uri="{FF2B5EF4-FFF2-40B4-BE49-F238E27FC236}">
                  <a16:creationId xmlns:a16="http://schemas.microsoft.com/office/drawing/2014/main" id="{C59E6787-0DDE-48F6-920C-666C59F25107}"/>
                </a:ext>
              </a:extLst>
            </p:cNvPr>
            <p:cNvGrpSpPr/>
            <p:nvPr/>
          </p:nvGrpSpPr>
          <p:grpSpPr>
            <a:xfrm>
              <a:off x="3431440" y="827177"/>
              <a:ext cx="6174064" cy="5471862"/>
              <a:chOff x="3431440" y="827177"/>
              <a:chExt cx="6174064" cy="5471862"/>
            </a:xfrm>
          </p:grpSpPr>
          <p:grpSp>
            <p:nvGrpSpPr>
              <p:cNvPr id="774" name="Group 773">
                <a:extLst>
                  <a:ext uri="{FF2B5EF4-FFF2-40B4-BE49-F238E27FC236}">
                    <a16:creationId xmlns:a16="http://schemas.microsoft.com/office/drawing/2014/main" id="{A039508A-5057-488B-B1A1-BD8F16E30E36}"/>
                  </a:ext>
                </a:extLst>
              </p:cNvPr>
              <p:cNvGrpSpPr/>
              <p:nvPr/>
            </p:nvGrpSpPr>
            <p:grpSpPr>
              <a:xfrm>
                <a:off x="3846266" y="827177"/>
                <a:ext cx="5759238" cy="4437678"/>
                <a:chOff x="3846266" y="827177"/>
                <a:chExt cx="5759238" cy="4437678"/>
              </a:xfrm>
            </p:grpSpPr>
            <p:sp>
              <p:nvSpPr>
                <p:cNvPr id="884" name="Oval 883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5D2ABEC7-6E64-4A70-B8F2-E207F9B19074}"/>
                    </a:ext>
                  </a:extLst>
                </p:cNvPr>
                <p:cNvSpPr/>
                <p:nvPr/>
              </p:nvSpPr>
              <p:spPr>
                <a:xfrm>
                  <a:off x="7798523" y="4180521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885" name="Oval 884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05E59767-155B-4AE1-B204-0E7456CD2D16}"/>
                    </a:ext>
                  </a:extLst>
                </p:cNvPr>
                <p:cNvSpPr/>
                <p:nvPr/>
              </p:nvSpPr>
              <p:spPr>
                <a:xfrm>
                  <a:off x="7825290" y="4174231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887" name="Oval 886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A83DBFD3-CD10-4940-84AE-BEB68B2BE309}"/>
                    </a:ext>
                  </a:extLst>
                </p:cNvPr>
                <p:cNvSpPr/>
                <p:nvPr/>
              </p:nvSpPr>
              <p:spPr>
                <a:xfrm>
                  <a:off x="4724737" y="3519159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888" name="Oval 887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AE06ED62-6FA5-409A-BFF4-B0CE9B5CB513}"/>
                    </a:ext>
                  </a:extLst>
                </p:cNvPr>
                <p:cNvSpPr/>
                <p:nvPr/>
              </p:nvSpPr>
              <p:spPr>
                <a:xfrm>
                  <a:off x="5641820" y="3559310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889" name="Oval 888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7C36A647-5974-459E-BD5E-8B1F6FB9F7E9}"/>
                    </a:ext>
                  </a:extLst>
                </p:cNvPr>
                <p:cNvSpPr/>
                <p:nvPr/>
              </p:nvSpPr>
              <p:spPr>
                <a:xfrm>
                  <a:off x="6035040" y="1793474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890" name="Oval 889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90ED8093-C579-4033-8849-3A544ED37075}"/>
                    </a:ext>
                  </a:extLst>
                </p:cNvPr>
                <p:cNvSpPr/>
                <p:nvPr/>
              </p:nvSpPr>
              <p:spPr>
                <a:xfrm>
                  <a:off x="9531828" y="5039446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892" name="Oval 891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E6CC3EDE-6CA4-42FA-A081-AEAAD18F7DA3}"/>
                    </a:ext>
                  </a:extLst>
                </p:cNvPr>
                <p:cNvSpPr/>
                <p:nvPr/>
              </p:nvSpPr>
              <p:spPr>
                <a:xfrm>
                  <a:off x="8349126" y="4671892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893" name="Oval 892">
                  <a:extLst>
                    <a:ext uri="{FF2B5EF4-FFF2-40B4-BE49-F238E27FC236}">
                      <a16:creationId xmlns:a16="http://schemas.microsoft.com/office/drawing/2014/main" id="{8A18B07A-ED40-40C1-A0CA-EF42C87DFF4D}"/>
                    </a:ext>
                  </a:extLst>
                </p:cNvPr>
                <p:cNvSpPr/>
                <p:nvPr/>
              </p:nvSpPr>
              <p:spPr>
                <a:xfrm>
                  <a:off x="6150706" y="1968098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895" name="Oval 894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F38C7E80-DC60-4FB2-9B02-FD759E2319FF}"/>
                    </a:ext>
                  </a:extLst>
                </p:cNvPr>
                <p:cNvSpPr/>
                <p:nvPr/>
              </p:nvSpPr>
              <p:spPr>
                <a:xfrm>
                  <a:off x="9559784" y="5061403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896" name="Oval 895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528A9127-AD16-485D-B93A-B17C59E4FF50}"/>
                    </a:ext>
                  </a:extLst>
                </p:cNvPr>
                <p:cNvSpPr/>
                <p:nvPr/>
              </p:nvSpPr>
              <p:spPr>
                <a:xfrm>
                  <a:off x="5985105" y="1556119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897" name="Oval 896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FCCCB2FA-2EAE-4889-8BB6-C519578DF6C4}"/>
                    </a:ext>
                  </a:extLst>
                </p:cNvPr>
                <p:cNvSpPr/>
                <p:nvPr/>
              </p:nvSpPr>
              <p:spPr>
                <a:xfrm>
                  <a:off x="5233001" y="3961912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898" name="Oval 897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16344556-2E4D-4017-B25C-C32391F4F47D}"/>
                    </a:ext>
                  </a:extLst>
                </p:cNvPr>
                <p:cNvSpPr/>
                <p:nvPr/>
              </p:nvSpPr>
              <p:spPr>
                <a:xfrm>
                  <a:off x="6099131" y="1907633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900" name="Oval 899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B4F7D9FF-3694-453C-8064-02FD0B559431}"/>
                    </a:ext>
                  </a:extLst>
                </p:cNvPr>
                <p:cNvSpPr/>
                <p:nvPr/>
              </p:nvSpPr>
              <p:spPr>
                <a:xfrm>
                  <a:off x="8760539" y="4698298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904" name="Oval 903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BD20697E-0FFA-4A96-BBEA-95907B273832}"/>
                    </a:ext>
                  </a:extLst>
                </p:cNvPr>
                <p:cNvSpPr/>
                <p:nvPr/>
              </p:nvSpPr>
              <p:spPr>
                <a:xfrm>
                  <a:off x="8294317" y="4628812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905" name="Oval 904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ECCE0E5F-C45C-4A7B-A1BE-84DA293D7CD8}"/>
                    </a:ext>
                  </a:extLst>
                </p:cNvPr>
                <p:cNvSpPr/>
                <p:nvPr/>
              </p:nvSpPr>
              <p:spPr>
                <a:xfrm>
                  <a:off x="8320493" y="4651553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908" name="Oval 907">
                  <a:extLst>
                    <a:ext uri="{FF2B5EF4-FFF2-40B4-BE49-F238E27FC236}">
                      <a16:creationId xmlns:a16="http://schemas.microsoft.com/office/drawing/2014/main" id="{11C41F50-ACA6-4AD7-9B7C-2DB6EE267068}"/>
                    </a:ext>
                  </a:extLst>
                </p:cNvPr>
                <p:cNvSpPr/>
                <p:nvPr/>
              </p:nvSpPr>
              <p:spPr>
                <a:xfrm>
                  <a:off x="8908565" y="4940533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909" name="Oval 908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5F5FE567-C95C-488F-A4BE-6F76CF77FE82}"/>
                    </a:ext>
                  </a:extLst>
                </p:cNvPr>
                <p:cNvSpPr/>
                <p:nvPr/>
              </p:nvSpPr>
              <p:spPr>
                <a:xfrm>
                  <a:off x="9086394" y="5007869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912" name="Oval 911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20A7306B-79C4-4C12-9C55-AEF9EBA5F7E0}"/>
                    </a:ext>
                  </a:extLst>
                </p:cNvPr>
                <p:cNvSpPr/>
                <p:nvPr/>
              </p:nvSpPr>
              <p:spPr>
                <a:xfrm>
                  <a:off x="7855663" y="4332835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914" name="Oval 913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8D8FC24A-AA94-4E51-8FD1-677FCB90C618}"/>
                    </a:ext>
                  </a:extLst>
                </p:cNvPr>
                <p:cNvSpPr/>
                <p:nvPr/>
              </p:nvSpPr>
              <p:spPr>
                <a:xfrm>
                  <a:off x="7925369" y="4371629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916" name="Oval 915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4FB4E750-E300-4A03-BC08-4060CF21E0E0}"/>
                    </a:ext>
                  </a:extLst>
                </p:cNvPr>
                <p:cNvSpPr/>
                <p:nvPr/>
              </p:nvSpPr>
              <p:spPr>
                <a:xfrm>
                  <a:off x="9058195" y="4987478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917" name="Oval 916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E09BC5DF-71CF-4411-B8EF-8CEAB075DC65}"/>
                    </a:ext>
                  </a:extLst>
                </p:cNvPr>
                <p:cNvSpPr/>
                <p:nvPr/>
              </p:nvSpPr>
              <p:spPr>
                <a:xfrm>
                  <a:off x="9025805" y="4975806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918" name="Oval 917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B1EECCFD-146D-4EDE-9CE4-F8AF9EA3EA85}"/>
                    </a:ext>
                  </a:extLst>
                </p:cNvPr>
                <p:cNvSpPr/>
                <p:nvPr/>
              </p:nvSpPr>
              <p:spPr>
                <a:xfrm>
                  <a:off x="9123395" y="5025701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919" name="Oval 918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AC044EBB-A518-4525-BDC9-2322809A0491}"/>
                    </a:ext>
                  </a:extLst>
                </p:cNvPr>
                <p:cNvSpPr/>
                <p:nvPr/>
              </p:nvSpPr>
              <p:spPr>
                <a:xfrm>
                  <a:off x="9153114" y="5043237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920" name="Oval 919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23C49608-2B04-4EE7-A619-4680CA034C3E}"/>
                    </a:ext>
                  </a:extLst>
                </p:cNvPr>
                <p:cNvSpPr/>
                <p:nvPr/>
              </p:nvSpPr>
              <p:spPr>
                <a:xfrm>
                  <a:off x="8461419" y="4524310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921" name="Oval 920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18DF6BFF-2968-44B9-B3D0-37866CBD5F79}"/>
                    </a:ext>
                  </a:extLst>
                </p:cNvPr>
                <p:cNvSpPr/>
                <p:nvPr/>
              </p:nvSpPr>
              <p:spPr>
                <a:xfrm>
                  <a:off x="8062211" y="4303115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grpSp>
              <p:nvGrpSpPr>
                <p:cNvPr id="922" name="Group 921">
                  <a:extLst>
                    <a:ext uri="{FF2B5EF4-FFF2-40B4-BE49-F238E27FC236}">
                      <a16:creationId xmlns:a16="http://schemas.microsoft.com/office/drawing/2014/main" id="{0417622A-FA63-446B-BEF3-F3DDE389741A}"/>
                    </a:ext>
                  </a:extLst>
                </p:cNvPr>
                <p:cNvGrpSpPr/>
                <p:nvPr/>
              </p:nvGrpSpPr>
              <p:grpSpPr>
                <a:xfrm>
                  <a:off x="3846266" y="827177"/>
                  <a:ext cx="5604386" cy="4437678"/>
                  <a:chOff x="3846266" y="827315"/>
                  <a:chExt cx="5604386" cy="4437678"/>
                </a:xfrm>
              </p:grpSpPr>
              <p:sp>
                <p:nvSpPr>
                  <p:cNvPr id="923" name="Oval 922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5EF1E9C0-5674-49A0-9509-AB5F576E234C}"/>
                      </a:ext>
                    </a:extLst>
                  </p:cNvPr>
                  <p:cNvSpPr/>
                  <p:nvPr/>
                </p:nvSpPr>
                <p:spPr>
                  <a:xfrm>
                    <a:off x="8769397" y="4879487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24" name="Oval 923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C32BB60C-CD69-42B4-AF7D-CF8EE9AD6255}"/>
                      </a:ext>
                    </a:extLst>
                  </p:cNvPr>
                  <p:cNvSpPr/>
                  <p:nvPr/>
                </p:nvSpPr>
                <p:spPr>
                  <a:xfrm>
                    <a:off x="9343183" y="5167475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25" name="Oval 924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9D139049-1A2F-4109-9070-1ABC398BF452}"/>
                      </a:ext>
                    </a:extLst>
                  </p:cNvPr>
                  <p:cNvSpPr/>
                  <p:nvPr/>
                </p:nvSpPr>
                <p:spPr>
                  <a:xfrm>
                    <a:off x="8775897" y="3853722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26" name="Oval 925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D64B3813-2B0C-47F8-A910-924F4F4DCE81}"/>
                      </a:ext>
                    </a:extLst>
                  </p:cNvPr>
                  <p:cNvSpPr/>
                  <p:nvPr/>
                </p:nvSpPr>
                <p:spPr>
                  <a:xfrm>
                    <a:off x="8782988" y="3861883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27" name="Oval 926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8A68499B-AF13-4D3F-AC6E-B40554B82A8E}"/>
                      </a:ext>
                    </a:extLst>
                  </p:cNvPr>
                  <p:cNvSpPr/>
                  <p:nvPr/>
                </p:nvSpPr>
                <p:spPr>
                  <a:xfrm>
                    <a:off x="8791249" y="3874007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29" name="Oval 928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5C42F535-6DA2-4583-B175-7B7F22896191}"/>
                      </a:ext>
                    </a:extLst>
                  </p:cNvPr>
                  <p:cNvSpPr/>
                  <p:nvPr/>
                </p:nvSpPr>
                <p:spPr>
                  <a:xfrm>
                    <a:off x="8832828" y="4263803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30" name="Oval 929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E40453A7-BED0-4C01-A78F-0CA0A8A84C18}"/>
                      </a:ext>
                    </a:extLst>
                  </p:cNvPr>
                  <p:cNvSpPr/>
                  <p:nvPr/>
                </p:nvSpPr>
                <p:spPr>
                  <a:xfrm>
                    <a:off x="8826465" y="4284235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31" name="Oval 930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720A586C-18C9-40DF-A784-7248546024C6}"/>
                      </a:ext>
                    </a:extLst>
                  </p:cNvPr>
                  <p:cNvSpPr/>
                  <p:nvPr/>
                </p:nvSpPr>
                <p:spPr>
                  <a:xfrm>
                    <a:off x="6598437" y="3999667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32" name="Oval 931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5B2D4453-BEF3-4BA7-AC58-0CB1444C2A56}"/>
                      </a:ext>
                    </a:extLst>
                  </p:cNvPr>
                  <p:cNvSpPr/>
                  <p:nvPr/>
                </p:nvSpPr>
                <p:spPr>
                  <a:xfrm>
                    <a:off x="6594692" y="4055339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34" name="Oval 933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F7C88C8C-4BBC-4C8D-82BA-07A9667A43BD}"/>
                      </a:ext>
                    </a:extLst>
                  </p:cNvPr>
                  <p:cNvSpPr/>
                  <p:nvPr/>
                </p:nvSpPr>
                <p:spPr>
                  <a:xfrm>
                    <a:off x="7212898" y="4010197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36" name="Oval 935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C6C7E50D-0AD5-4C5F-8BAA-B569B60773CB}"/>
                      </a:ext>
                    </a:extLst>
                  </p:cNvPr>
                  <p:cNvSpPr/>
                  <p:nvPr/>
                </p:nvSpPr>
                <p:spPr>
                  <a:xfrm>
                    <a:off x="7501039" y="4109943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37" name="Oval 936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15FB45E4-FB03-4F49-8989-30A75B205552}"/>
                      </a:ext>
                    </a:extLst>
                  </p:cNvPr>
                  <p:cNvSpPr/>
                  <p:nvPr/>
                </p:nvSpPr>
                <p:spPr>
                  <a:xfrm>
                    <a:off x="7445910" y="4094758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39" name="Oval 938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8B39CB17-FE92-4DEC-AFB4-3D0AB40F960A}"/>
                      </a:ext>
                    </a:extLst>
                  </p:cNvPr>
                  <p:cNvSpPr/>
                  <p:nvPr/>
                </p:nvSpPr>
                <p:spPr>
                  <a:xfrm>
                    <a:off x="6199751" y="2440026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40" name="Oval 939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C5AB760E-E9EC-4D14-A0A8-98A95FF38638}"/>
                      </a:ext>
                    </a:extLst>
                  </p:cNvPr>
                  <p:cNvSpPr/>
                  <p:nvPr/>
                </p:nvSpPr>
                <p:spPr>
                  <a:xfrm>
                    <a:off x="6109606" y="2677690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41" name="Oval 940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CBD34F4B-05B7-4EFA-8F83-38020D9870E2}"/>
                      </a:ext>
                    </a:extLst>
                  </p:cNvPr>
                  <p:cNvSpPr/>
                  <p:nvPr/>
                </p:nvSpPr>
                <p:spPr>
                  <a:xfrm>
                    <a:off x="6098400" y="2710084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42" name="Oval 941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083F7BE4-782B-4B30-9FF3-3AAD43B59B79}"/>
                      </a:ext>
                    </a:extLst>
                  </p:cNvPr>
                  <p:cNvSpPr/>
                  <p:nvPr/>
                </p:nvSpPr>
                <p:spPr>
                  <a:xfrm>
                    <a:off x="5924520" y="827315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43" name="Oval 942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A515D1C8-0F1F-4F32-9E29-E32D4696040F}"/>
                      </a:ext>
                    </a:extLst>
                  </p:cNvPr>
                  <p:cNvSpPr/>
                  <p:nvPr/>
                </p:nvSpPr>
                <p:spPr>
                  <a:xfrm>
                    <a:off x="3846266" y="4090650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44" name="Oval 943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00279082-A348-4ED7-AF66-9F16AED9B1B4}"/>
                      </a:ext>
                    </a:extLst>
                  </p:cNvPr>
                  <p:cNvSpPr/>
                  <p:nvPr/>
                </p:nvSpPr>
                <p:spPr>
                  <a:xfrm>
                    <a:off x="4599176" y="4070543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45" name="Oval 944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64097BA6-7C99-4061-B3DE-0C5C76AB0387}"/>
                      </a:ext>
                    </a:extLst>
                  </p:cNvPr>
                  <p:cNvSpPr/>
                  <p:nvPr/>
                </p:nvSpPr>
                <p:spPr>
                  <a:xfrm>
                    <a:off x="5416341" y="3934759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46" name="Oval 945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BAB73B45-C111-4551-ADE8-0761CA18DFA3}"/>
                      </a:ext>
                    </a:extLst>
                  </p:cNvPr>
                  <p:cNvSpPr/>
                  <p:nvPr/>
                </p:nvSpPr>
                <p:spPr>
                  <a:xfrm>
                    <a:off x="5223063" y="3902587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3" name="Oval 402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D64703C0-F48D-4539-88CC-A2E87EE8C57C}"/>
                      </a:ext>
                    </a:extLst>
                  </p:cNvPr>
                  <p:cNvSpPr/>
                  <p:nvPr/>
                </p:nvSpPr>
                <p:spPr>
                  <a:xfrm>
                    <a:off x="8732291" y="4414649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57" name="Oval 456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64B14D33-1AB8-4848-A365-340262591B52}"/>
                      </a:ext>
                    </a:extLst>
                  </p:cNvPr>
                  <p:cNvSpPr/>
                  <p:nvPr/>
                </p:nvSpPr>
                <p:spPr>
                  <a:xfrm>
                    <a:off x="9404932" y="5219273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83" name="Oval 482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82BBA957-4CAB-456E-B7B0-0D65FE189B85}"/>
                      </a:ext>
                    </a:extLst>
                  </p:cNvPr>
                  <p:cNvSpPr/>
                  <p:nvPr/>
                </p:nvSpPr>
                <p:spPr>
                  <a:xfrm>
                    <a:off x="7420821" y="4084495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86" name="Oval 485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BC1A34F7-D85A-4E7E-98D7-B973884573D5}"/>
                      </a:ext>
                    </a:extLst>
                  </p:cNvPr>
                  <p:cNvSpPr/>
                  <p:nvPr/>
                </p:nvSpPr>
                <p:spPr>
                  <a:xfrm>
                    <a:off x="7355495" y="4056370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87" name="Oval 486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54F57891-7818-406D-8341-5EF623B8F190}"/>
                      </a:ext>
                    </a:extLst>
                  </p:cNvPr>
                  <p:cNvSpPr/>
                  <p:nvPr/>
                </p:nvSpPr>
                <p:spPr>
                  <a:xfrm>
                    <a:off x="7319486" y="4045498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414" name="Oval 413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0FFFC9F9-3062-4E74-A31A-0D8ECEB08803}"/>
                    </a:ext>
                  </a:extLst>
                </p:cNvPr>
                <p:cNvSpPr/>
                <p:nvPr/>
              </p:nvSpPr>
              <p:spPr>
                <a:xfrm>
                  <a:off x="7770686" y="4191942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466" name="Oval 465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3D652087-3192-493D-8BC6-4C7904CD73EE}"/>
                    </a:ext>
                  </a:extLst>
                </p:cNvPr>
                <p:cNvSpPr/>
                <p:nvPr/>
              </p:nvSpPr>
              <p:spPr>
                <a:xfrm>
                  <a:off x="8149691" y="4343648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467" name="Oval 466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38C3CAFC-FB76-4746-8E7E-7322750A06B2}"/>
                    </a:ext>
                  </a:extLst>
                </p:cNvPr>
                <p:cNvSpPr/>
                <p:nvPr/>
              </p:nvSpPr>
              <p:spPr>
                <a:xfrm>
                  <a:off x="8172551" y="4353295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468" name="Oval 467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3789B437-2368-468C-BFDB-660A083CE65E}"/>
                    </a:ext>
                  </a:extLst>
                </p:cNvPr>
                <p:cNvSpPr/>
                <p:nvPr/>
              </p:nvSpPr>
              <p:spPr>
                <a:xfrm>
                  <a:off x="8196537" y="4367409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474" name="Oval 473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9D230AE0-AA86-40D0-B9EB-D04A5FA06F66}"/>
                    </a:ext>
                  </a:extLst>
                </p:cNvPr>
                <p:cNvSpPr/>
                <p:nvPr/>
              </p:nvSpPr>
              <p:spPr>
                <a:xfrm>
                  <a:off x="7840563" y="4319748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475" name="Oval 474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606944E6-1BDE-4887-BF7A-A5F49815C7E5}"/>
                    </a:ext>
                  </a:extLst>
                </p:cNvPr>
                <p:cNvSpPr/>
                <p:nvPr/>
              </p:nvSpPr>
              <p:spPr>
                <a:xfrm>
                  <a:off x="7825463" y="4306661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476" name="Oval 475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2D1FBF73-3DB1-4398-B546-66A84861256B}"/>
                    </a:ext>
                  </a:extLst>
                </p:cNvPr>
                <p:cNvSpPr/>
                <p:nvPr/>
              </p:nvSpPr>
              <p:spPr>
                <a:xfrm>
                  <a:off x="7810363" y="4293574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477" name="Oval 476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73E5EC21-5018-4066-8C95-B154138ABD52}"/>
                    </a:ext>
                  </a:extLst>
                </p:cNvPr>
                <p:cNvSpPr/>
                <p:nvPr/>
              </p:nvSpPr>
              <p:spPr>
                <a:xfrm>
                  <a:off x="8266776" y="4391033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478" name="Oval 477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62A9CBB4-01CC-4FC1-9866-6C5F586339D0}"/>
                    </a:ext>
                  </a:extLst>
                </p:cNvPr>
                <p:cNvSpPr/>
                <p:nvPr/>
              </p:nvSpPr>
              <p:spPr>
                <a:xfrm>
                  <a:off x="8281170" y="4404079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479" name="Oval 478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B8148BA9-73B3-45D3-8325-0B6E118F7C6F}"/>
                    </a:ext>
                  </a:extLst>
                </p:cNvPr>
                <p:cNvSpPr/>
                <p:nvPr/>
              </p:nvSpPr>
              <p:spPr>
                <a:xfrm>
                  <a:off x="8295564" y="4417125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480" name="Oval 479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462089DD-5298-44EF-960E-3DD8621D8667}"/>
                    </a:ext>
                  </a:extLst>
                </p:cNvPr>
                <p:cNvSpPr/>
                <p:nvPr/>
              </p:nvSpPr>
              <p:spPr>
                <a:xfrm>
                  <a:off x="8309958" y="4430171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482" name="Oval 481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3214CD71-345A-48C5-908C-AE732D7A3897}"/>
                    </a:ext>
                  </a:extLst>
                </p:cNvPr>
                <p:cNvSpPr/>
                <p:nvPr/>
              </p:nvSpPr>
              <p:spPr>
                <a:xfrm>
                  <a:off x="8329297" y="4439957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492" name="Oval 491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57D7C460-901F-4FA7-9836-A8933654113B}"/>
                    </a:ext>
                  </a:extLst>
                </p:cNvPr>
                <p:cNvSpPr/>
                <p:nvPr/>
              </p:nvSpPr>
              <p:spPr>
                <a:xfrm>
                  <a:off x="4989535" y="3664661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493" name="Oval 492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2C06FF55-2818-4090-99DE-C1F874AE7D87}"/>
                    </a:ext>
                  </a:extLst>
                </p:cNvPr>
                <p:cNvSpPr/>
                <p:nvPr/>
              </p:nvSpPr>
              <p:spPr>
                <a:xfrm>
                  <a:off x="4755176" y="3529102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494" name="Oval 493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6235DCEC-8E30-4D27-A970-FF8F56793D9F}"/>
                    </a:ext>
                  </a:extLst>
                </p:cNvPr>
                <p:cNvSpPr/>
                <p:nvPr/>
              </p:nvSpPr>
              <p:spPr>
                <a:xfrm>
                  <a:off x="4785536" y="3542019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495" name="Oval 494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45F6A73E-D640-454B-AB44-806B2126011E}"/>
                    </a:ext>
                  </a:extLst>
                </p:cNvPr>
                <p:cNvSpPr/>
                <p:nvPr/>
              </p:nvSpPr>
              <p:spPr>
                <a:xfrm>
                  <a:off x="4651073" y="3475569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496" name="Oval 495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E1896394-BE99-4049-8D2C-2DEE6A4CF1FF}"/>
                    </a:ext>
                  </a:extLst>
                </p:cNvPr>
                <p:cNvSpPr/>
                <p:nvPr/>
              </p:nvSpPr>
              <p:spPr>
                <a:xfrm>
                  <a:off x="4630068" y="3465077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497" name="Oval 496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04DB240F-2E43-44B9-A327-587CF9E9518C}"/>
                    </a:ext>
                  </a:extLst>
                </p:cNvPr>
                <p:cNvSpPr/>
                <p:nvPr/>
              </p:nvSpPr>
              <p:spPr>
                <a:xfrm>
                  <a:off x="4476189" y="3402490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498" name="Oval 497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B6002CCF-29C5-4538-81C7-9C28165B95F6}"/>
                    </a:ext>
                  </a:extLst>
                </p:cNvPr>
                <p:cNvSpPr/>
                <p:nvPr/>
              </p:nvSpPr>
              <p:spPr>
                <a:xfrm>
                  <a:off x="4292909" y="3340157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499" name="Oval 498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C06FE8A2-4986-4215-A1C5-6F1F2644BB92}"/>
                    </a:ext>
                  </a:extLst>
                </p:cNvPr>
                <p:cNvSpPr/>
                <p:nvPr/>
              </p:nvSpPr>
              <p:spPr>
                <a:xfrm>
                  <a:off x="4810911" y="3563023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775" name="Group 774">
                <a:extLst>
                  <a:ext uri="{FF2B5EF4-FFF2-40B4-BE49-F238E27FC236}">
                    <a16:creationId xmlns:a16="http://schemas.microsoft.com/office/drawing/2014/main" id="{21FCED23-FC5A-45B1-BF6D-03301E224750}"/>
                  </a:ext>
                </a:extLst>
              </p:cNvPr>
              <p:cNvGrpSpPr/>
              <p:nvPr/>
            </p:nvGrpSpPr>
            <p:grpSpPr>
              <a:xfrm>
                <a:off x="3431440" y="1030736"/>
                <a:ext cx="5992967" cy="5268303"/>
                <a:chOff x="3431440" y="1030736"/>
                <a:chExt cx="5992967" cy="5268303"/>
              </a:xfrm>
            </p:grpSpPr>
            <p:sp>
              <p:nvSpPr>
                <p:cNvPr id="777" name="Oval 776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09082C83-9347-4560-8DDD-CB5E46CD7C1D}"/>
                    </a:ext>
                  </a:extLst>
                </p:cNvPr>
                <p:cNvSpPr/>
                <p:nvPr/>
              </p:nvSpPr>
              <p:spPr>
                <a:xfrm>
                  <a:off x="9145968" y="5962070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778" name="Oval 777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04396A56-6468-49D5-9D2F-A800A25036D3}"/>
                    </a:ext>
                  </a:extLst>
                </p:cNvPr>
                <p:cNvSpPr/>
                <p:nvPr/>
              </p:nvSpPr>
              <p:spPr>
                <a:xfrm>
                  <a:off x="9164700" y="5944350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780" name="Oval 779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ECF2A370-AF81-4F48-AA90-64DEE9DA7394}"/>
                    </a:ext>
                  </a:extLst>
                </p:cNvPr>
                <p:cNvSpPr/>
                <p:nvPr/>
              </p:nvSpPr>
              <p:spPr>
                <a:xfrm>
                  <a:off x="9276801" y="5750858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781" name="Oval 780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148290E3-C334-42E0-B863-0B6A1F0D7D97}"/>
                    </a:ext>
                  </a:extLst>
                </p:cNvPr>
                <p:cNvSpPr/>
                <p:nvPr/>
              </p:nvSpPr>
              <p:spPr>
                <a:xfrm>
                  <a:off x="9284311" y="5726549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782" name="Oval 781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59E37869-8655-4F1B-A07A-3CE03C032654}"/>
                    </a:ext>
                  </a:extLst>
                </p:cNvPr>
                <p:cNvSpPr/>
                <p:nvPr/>
              </p:nvSpPr>
              <p:spPr>
                <a:xfrm>
                  <a:off x="9291821" y="5696236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783" name="Oval 782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8B552301-B4EA-4D23-B48B-ED47152DD5E1}"/>
                    </a:ext>
                  </a:extLst>
                </p:cNvPr>
                <p:cNvSpPr/>
                <p:nvPr/>
              </p:nvSpPr>
              <p:spPr>
                <a:xfrm>
                  <a:off x="9296335" y="5668538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grpSp>
              <p:nvGrpSpPr>
                <p:cNvPr id="784" name="Group 783">
                  <a:extLst>
                    <a:ext uri="{FF2B5EF4-FFF2-40B4-BE49-F238E27FC236}">
                      <a16:creationId xmlns:a16="http://schemas.microsoft.com/office/drawing/2014/main" id="{7A4E22BF-BF3E-46CC-B862-0BE8781F3262}"/>
                    </a:ext>
                  </a:extLst>
                </p:cNvPr>
                <p:cNvGrpSpPr/>
                <p:nvPr/>
              </p:nvGrpSpPr>
              <p:grpSpPr>
                <a:xfrm>
                  <a:off x="3431440" y="1030736"/>
                  <a:ext cx="5992967" cy="5268303"/>
                  <a:chOff x="3431440" y="1030736"/>
                  <a:chExt cx="5992967" cy="5268303"/>
                </a:xfrm>
              </p:grpSpPr>
              <p:sp>
                <p:nvSpPr>
                  <p:cNvPr id="785" name="Oval 784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E863F934-B164-43F6-AD06-ABD9EFABA685}"/>
                      </a:ext>
                    </a:extLst>
                  </p:cNvPr>
                  <p:cNvSpPr/>
                  <p:nvPr/>
                </p:nvSpPr>
                <p:spPr>
                  <a:xfrm>
                    <a:off x="9305163" y="5635975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86" name="Oval 785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5BA93939-85FE-4477-AF2E-517B07767C3A}"/>
                      </a:ext>
                    </a:extLst>
                  </p:cNvPr>
                  <p:cNvSpPr/>
                  <p:nvPr/>
                </p:nvSpPr>
                <p:spPr>
                  <a:xfrm>
                    <a:off x="8770971" y="6234552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87" name="Oval 786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E6451DB5-C3F4-4B33-8051-C2B0B2035CE2}"/>
                      </a:ext>
                    </a:extLst>
                  </p:cNvPr>
                  <p:cNvSpPr/>
                  <p:nvPr/>
                </p:nvSpPr>
                <p:spPr>
                  <a:xfrm>
                    <a:off x="8778260" y="6206427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88" name="Oval 787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1464664D-840F-45C5-B9BC-A0E5E33111FC}"/>
                      </a:ext>
                    </a:extLst>
                  </p:cNvPr>
                  <p:cNvSpPr/>
                  <p:nvPr/>
                </p:nvSpPr>
                <p:spPr>
                  <a:xfrm>
                    <a:off x="8818170" y="6145355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89" name="Oval 788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1D299341-2B1E-4ABE-9B60-CA2C9023ABFF}"/>
                      </a:ext>
                    </a:extLst>
                  </p:cNvPr>
                  <p:cNvSpPr/>
                  <p:nvPr/>
                </p:nvSpPr>
                <p:spPr>
                  <a:xfrm>
                    <a:off x="8937471" y="6095217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94" name="Oval 793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89CD3AB9-B3D1-4E73-9EB3-59763067E46B}"/>
                      </a:ext>
                    </a:extLst>
                  </p:cNvPr>
                  <p:cNvSpPr/>
                  <p:nvPr/>
                </p:nvSpPr>
                <p:spPr>
                  <a:xfrm>
                    <a:off x="9312007" y="5606213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96" name="Oval 795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5D0A678F-D14A-4E0E-B8E9-41417A7A2F16}"/>
                      </a:ext>
                    </a:extLst>
                  </p:cNvPr>
                  <p:cNvSpPr/>
                  <p:nvPr/>
                </p:nvSpPr>
                <p:spPr>
                  <a:xfrm>
                    <a:off x="8702854" y="4871951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97" name="Oval 796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0F351BAD-342D-411E-9241-3BEB226DDB17}"/>
                      </a:ext>
                    </a:extLst>
                  </p:cNvPr>
                  <p:cNvSpPr/>
                  <p:nvPr/>
                </p:nvSpPr>
                <p:spPr>
                  <a:xfrm>
                    <a:off x="8735861" y="4874521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98" name="Oval 797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126EC5BE-FEDF-4A91-B812-5F641C4872A0}"/>
                      </a:ext>
                    </a:extLst>
                  </p:cNvPr>
                  <p:cNvSpPr/>
                  <p:nvPr/>
                </p:nvSpPr>
                <p:spPr>
                  <a:xfrm>
                    <a:off x="8967168" y="6068313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01" name="Oval 800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FDBC8A5C-5A6F-4117-9A28-C438DA7026CF}"/>
                      </a:ext>
                    </a:extLst>
                  </p:cNvPr>
                  <p:cNvSpPr/>
                  <p:nvPr/>
                </p:nvSpPr>
                <p:spPr>
                  <a:xfrm>
                    <a:off x="8000447" y="4412642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02" name="Oval 801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01289A52-85B3-406D-A4BE-0BC827948652}"/>
                      </a:ext>
                    </a:extLst>
                  </p:cNvPr>
                  <p:cNvSpPr/>
                  <p:nvPr/>
                </p:nvSpPr>
                <p:spPr>
                  <a:xfrm>
                    <a:off x="5969867" y="1030736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03" name="Oval 802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F6DF89AC-51D6-4C82-9D4B-47270F683F12}"/>
                      </a:ext>
                    </a:extLst>
                  </p:cNvPr>
                  <p:cNvSpPr/>
                  <p:nvPr/>
                </p:nvSpPr>
                <p:spPr>
                  <a:xfrm>
                    <a:off x="6021957" y="1239767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04" name="Oval 803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64B21C48-FA00-422B-9826-C03771B818CD}"/>
                      </a:ext>
                    </a:extLst>
                  </p:cNvPr>
                  <p:cNvSpPr/>
                  <p:nvPr/>
                </p:nvSpPr>
                <p:spPr>
                  <a:xfrm>
                    <a:off x="5990777" y="1701912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05" name="Oval 804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296C1C77-3643-470F-BC2E-D16CB3EE00CB}"/>
                      </a:ext>
                    </a:extLst>
                  </p:cNvPr>
                  <p:cNvSpPr/>
                  <p:nvPr/>
                </p:nvSpPr>
                <p:spPr>
                  <a:xfrm>
                    <a:off x="6125845" y="2652488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06" name="Oval 805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FAAF091D-65D9-441C-AE43-08D0F13D4BED}"/>
                      </a:ext>
                    </a:extLst>
                  </p:cNvPr>
                  <p:cNvSpPr/>
                  <p:nvPr/>
                </p:nvSpPr>
                <p:spPr>
                  <a:xfrm>
                    <a:off x="6084654" y="2735010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07" name="Oval 806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3E2CD04F-E481-417D-B926-946326D8B520}"/>
                      </a:ext>
                    </a:extLst>
                  </p:cNvPr>
                  <p:cNvSpPr/>
                  <p:nvPr/>
                </p:nvSpPr>
                <p:spPr>
                  <a:xfrm>
                    <a:off x="6074279" y="2761462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09" name="Oval 808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6D1ED854-AE3F-43A4-8B03-A7F7C039FCAD}"/>
                      </a:ext>
                    </a:extLst>
                  </p:cNvPr>
                  <p:cNvSpPr/>
                  <p:nvPr/>
                </p:nvSpPr>
                <p:spPr>
                  <a:xfrm>
                    <a:off x="5949773" y="3117770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10" name="Oval 809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017E03DC-9D95-41E3-A4E2-7B8AF01664A9}"/>
                      </a:ext>
                    </a:extLst>
                  </p:cNvPr>
                  <p:cNvSpPr/>
                  <p:nvPr/>
                </p:nvSpPr>
                <p:spPr>
                  <a:xfrm>
                    <a:off x="5930723" y="3162535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11" name="Oval 810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32CD8097-B208-49F2-9C05-415D589429A7}"/>
                      </a:ext>
                    </a:extLst>
                  </p:cNvPr>
                  <p:cNvSpPr/>
                  <p:nvPr/>
                </p:nvSpPr>
                <p:spPr>
                  <a:xfrm>
                    <a:off x="5690397" y="3486844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12" name="Oval 811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6436528F-1CC1-49CE-B837-E02F012F64E1}"/>
                      </a:ext>
                    </a:extLst>
                  </p:cNvPr>
                  <p:cNvSpPr/>
                  <p:nvPr/>
                </p:nvSpPr>
                <p:spPr>
                  <a:xfrm>
                    <a:off x="5660482" y="3517908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13" name="Oval 812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5A46DEC2-5EA3-4689-B734-D040A9513EB1}"/>
                      </a:ext>
                    </a:extLst>
                  </p:cNvPr>
                  <p:cNvSpPr/>
                  <p:nvPr/>
                </p:nvSpPr>
                <p:spPr>
                  <a:xfrm>
                    <a:off x="5346297" y="3797131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14" name="Oval 813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8E8E0EF3-547C-4AE8-A773-4AF9451640CD}"/>
                      </a:ext>
                    </a:extLst>
                  </p:cNvPr>
                  <p:cNvSpPr/>
                  <p:nvPr/>
                </p:nvSpPr>
                <p:spPr>
                  <a:xfrm>
                    <a:off x="5298411" y="3779813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15" name="Oval 814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EFEE644C-1DC9-4285-B6BB-2629FCC7E0A2}"/>
                      </a:ext>
                    </a:extLst>
                  </p:cNvPr>
                  <p:cNvSpPr/>
                  <p:nvPr/>
                </p:nvSpPr>
                <p:spPr>
                  <a:xfrm>
                    <a:off x="4262333" y="3329949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17" name="Oval 816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B7AFF9F8-9C45-406B-BEC2-8E29A5C5F251}"/>
                      </a:ext>
                    </a:extLst>
                  </p:cNvPr>
                  <p:cNvSpPr/>
                  <p:nvPr/>
                </p:nvSpPr>
                <p:spPr>
                  <a:xfrm>
                    <a:off x="3898468" y="4088408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18" name="Oval 817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72A92D34-DD02-4948-B7CA-4062D088AD47}"/>
                      </a:ext>
                    </a:extLst>
                  </p:cNvPr>
                  <p:cNvSpPr/>
                  <p:nvPr/>
                </p:nvSpPr>
                <p:spPr>
                  <a:xfrm>
                    <a:off x="4630068" y="3999950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19" name="Oval 818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8BB364AE-0570-44B6-A79A-32A5A984243B}"/>
                      </a:ext>
                    </a:extLst>
                  </p:cNvPr>
                  <p:cNvSpPr/>
                  <p:nvPr/>
                </p:nvSpPr>
                <p:spPr>
                  <a:xfrm>
                    <a:off x="4640141" y="4061863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22" name="Oval 821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26088CDA-D03B-4242-B67C-379D723C0C48}"/>
                      </a:ext>
                    </a:extLst>
                  </p:cNvPr>
                  <p:cNvSpPr/>
                  <p:nvPr/>
                </p:nvSpPr>
                <p:spPr>
                  <a:xfrm>
                    <a:off x="7526899" y="4118214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23" name="Oval 822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06EB01A3-3F69-4997-AEAF-F7F4F42B3872}"/>
                      </a:ext>
                    </a:extLst>
                  </p:cNvPr>
                  <p:cNvSpPr/>
                  <p:nvPr/>
                </p:nvSpPr>
                <p:spPr>
                  <a:xfrm>
                    <a:off x="7853768" y="4165424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24" name="Oval 823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A80FDA17-1B7E-49BA-A730-96BAE9F491DC}"/>
                      </a:ext>
                    </a:extLst>
                  </p:cNvPr>
                  <p:cNvSpPr/>
                  <p:nvPr/>
                </p:nvSpPr>
                <p:spPr>
                  <a:xfrm>
                    <a:off x="7933374" y="4215000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25" name="Oval 824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6E595133-2AD7-4C15-88E8-AA3FAE5F3408}"/>
                      </a:ext>
                    </a:extLst>
                  </p:cNvPr>
                  <p:cNvSpPr/>
                  <p:nvPr/>
                </p:nvSpPr>
                <p:spPr>
                  <a:xfrm>
                    <a:off x="7947687" y="4238927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26" name="Oval 825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D219E64E-D20E-44DF-A4D9-E6908779C170}"/>
                      </a:ext>
                    </a:extLst>
                  </p:cNvPr>
                  <p:cNvSpPr/>
                  <p:nvPr/>
                </p:nvSpPr>
                <p:spPr>
                  <a:xfrm>
                    <a:off x="8035215" y="4285081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27" name="Oval 826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EBAE5A24-BD2E-4E7E-812E-3C49717F58EC}"/>
                      </a:ext>
                    </a:extLst>
                  </p:cNvPr>
                  <p:cNvSpPr/>
                  <p:nvPr/>
                </p:nvSpPr>
                <p:spPr>
                  <a:xfrm>
                    <a:off x="8485755" y="4540929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28" name="Oval 827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96DA796C-4BD8-414F-8296-7182A653F45D}"/>
                      </a:ext>
                    </a:extLst>
                  </p:cNvPr>
                  <p:cNvSpPr/>
                  <p:nvPr/>
                </p:nvSpPr>
                <p:spPr>
                  <a:xfrm>
                    <a:off x="8511913" y="4558349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29" name="Oval 828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AEF74C20-D6E0-4C07-86AD-C3F486C8A25F}"/>
                      </a:ext>
                    </a:extLst>
                  </p:cNvPr>
                  <p:cNvSpPr/>
                  <p:nvPr/>
                </p:nvSpPr>
                <p:spPr>
                  <a:xfrm>
                    <a:off x="8461501" y="4251762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30" name="Oval 829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B7B7BD9D-01F9-4723-AA02-02E2F85BD54A}"/>
                      </a:ext>
                    </a:extLst>
                  </p:cNvPr>
                  <p:cNvSpPr/>
                  <p:nvPr/>
                </p:nvSpPr>
                <p:spPr>
                  <a:xfrm>
                    <a:off x="8459769" y="4284097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31" name="Oval 830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B7118FF3-EF0C-4CA5-8808-8AD54CCD6F51}"/>
                      </a:ext>
                    </a:extLst>
                  </p:cNvPr>
                  <p:cNvSpPr/>
                  <p:nvPr/>
                </p:nvSpPr>
                <p:spPr>
                  <a:xfrm>
                    <a:off x="8452521" y="4307948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32" name="Oval 831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B57958EB-B8B9-44ED-9E67-C19641BE123D}"/>
                      </a:ext>
                    </a:extLst>
                  </p:cNvPr>
                  <p:cNvSpPr/>
                  <p:nvPr/>
                </p:nvSpPr>
                <p:spPr>
                  <a:xfrm>
                    <a:off x="8445103" y="4331108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33" name="Oval 832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A4894E07-DB39-44DB-8BF1-ADD9B8DDEAAC}"/>
                      </a:ext>
                    </a:extLst>
                  </p:cNvPr>
                  <p:cNvSpPr/>
                  <p:nvPr/>
                </p:nvSpPr>
                <p:spPr>
                  <a:xfrm>
                    <a:off x="8434047" y="4354017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34" name="Oval 833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B2BE5DE8-AB6A-47DC-96D4-EBE085CAECD0}"/>
                      </a:ext>
                    </a:extLst>
                  </p:cNvPr>
                  <p:cNvSpPr/>
                  <p:nvPr/>
                </p:nvSpPr>
                <p:spPr>
                  <a:xfrm>
                    <a:off x="8411006" y="4408063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35" name="Oval 834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77B5CDB2-CA0E-49AC-B75A-EB95BDEAC17E}"/>
                      </a:ext>
                    </a:extLst>
                  </p:cNvPr>
                  <p:cNvSpPr/>
                  <p:nvPr/>
                </p:nvSpPr>
                <p:spPr>
                  <a:xfrm>
                    <a:off x="8423298" y="4384035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38" name="Oval 837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8A5A11FD-681A-4D72-84F1-09135C0B8BCA}"/>
                      </a:ext>
                    </a:extLst>
                  </p:cNvPr>
                  <p:cNvSpPr/>
                  <p:nvPr/>
                </p:nvSpPr>
                <p:spPr>
                  <a:xfrm>
                    <a:off x="8868458" y="4140611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41" name="Oval 840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E74EEC2C-A7A3-4B65-811F-35D2BBE6991E}"/>
                      </a:ext>
                    </a:extLst>
                  </p:cNvPr>
                  <p:cNvSpPr/>
                  <p:nvPr/>
                </p:nvSpPr>
                <p:spPr>
                  <a:xfrm>
                    <a:off x="8743558" y="4396772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42" name="Oval 841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92674E76-43B3-45C0-AC9B-5956835DC741}"/>
                      </a:ext>
                    </a:extLst>
                  </p:cNvPr>
                  <p:cNvSpPr/>
                  <p:nvPr/>
                </p:nvSpPr>
                <p:spPr>
                  <a:xfrm>
                    <a:off x="8761281" y="4373912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43" name="Oval 842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A3C11A9D-2F93-44B9-ADE4-36B65FF53EB8}"/>
                      </a:ext>
                    </a:extLst>
                  </p:cNvPr>
                  <p:cNvSpPr/>
                  <p:nvPr/>
                </p:nvSpPr>
                <p:spPr>
                  <a:xfrm>
                    <a:off x="8776226" y="4348908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44" name="Oval 843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1EA51304-9BD0-40D1-9745-D704C23D34BD}"/>
                      </a:ext>
                    </a:extLst>
                  </p:cNvPr>
                  <p:cNvSpPr/>
                  <p:nvPr/>
                </p:nvSpPr>
                <p:spPr>
                  <a:xfrm>
                    <a:off x="9378687" y="5664299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45" name="Oval 844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D0015150-9C1C-4AF5-ABF1-90264E5180F6}"/>
                      </a:ext>
                    </a:extLst>
                  </p:cNvPr>
                  <p:cNvSpPr/>
                  <p:nvPr/>
                </p:nvSpPr>
                <p:spPr>
                  <a:xfrm>
                    <a:off x="8817682" y="3901451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47" name="Oval 846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16D17D57-BB9B-4718-BA2A-EC531C0AB032}"/>
                      </a:ext>
                    </a:extLst>
                  </p:cNvPr>
                  <p:cNvSpPr/>
                  <p:nvPr/>
                </p:nvSpPr>
                <p:spPr>
                  <a:xfrm>
                    <a:off x="8560353" y="3701873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48" name="Oval 847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41F4D629-F3C2-446D-8C90-7978C397A613}"/>
                      </a:ext>
                    </a:extLst>
                  </p:cNvPr>
                  <p:cNvSpPr/>
                  <p:nvPr/>
                </p:nvSpPr>
                <p:spPr>
                  <a:xfrm>
                    <a:off x="8593995" y="3711149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49" name="Oval 848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DAE82F72-09CF-4940-B5C8-2322794B8D37}"/>
                      </a:ext>
                    </a:extLst>
                  </p:cNvPr>
                  <p:cNvSpPr/>
                  <p:nvPr/>
                </p:nvSpPr>
                <p:spPr>
                  <a:xfrm>
                    <a:off x="3431440" y="4193962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51" name="Oval 850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00578345-155D-4AA3-B2F9-CC42BC8635A1}"/>
                      </a:ext>
                    </a:extLst>
                  </p:cNvPr>
                  <p:cNvSpPr/>
                  <p:nvPr/>
                </p:nvSpPr>
                <p:spPr>
                  <a:xfrm>
                    <a:off x="4926485" y="3933413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55" name="Oval 854">
                    <a:extLst>
                      <a:ext uri="{FF2B5EF4-FFF2-40B4-BE49-F238E27FC236}">
                        <a16:creationId xmlns:a16="http://schemas.microsoft.com/office/drawing/2014/main" id="{C82178E5-AF1B-45DC-B8D6-315DE6D56652}"/>
                      </a:ext>
                    </a:extLst>
                  </p:cNvPr>
                  <p:cNvSpPr/>
                  <p:nvPr/>
                </p:nvSpPr>
                <p:spPr>
                  <a:xfrm>
                    <a:off x="6232040" y="2093651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57" name="Oval 856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1A651DF5-AFA8-41B2-8C49-364A5F9E565B}"/>
                      </a:ext>
                    </a:extLst>
                  </p:cNvPr>
                  <p:cNvSpPr/>
                  <p:nvPr/>
                </p:nvSpPr>
                <p:spPr>
                  <a:xfrm>
                    <a:off x="6116255" y="1934031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58" name="Oval 857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ABA08C8C-B328-4EB0-B6B1-759CFBBB304B}"/>
                      </a:ext>
                    </a:extLst>
                  </p:cNvPr>
                  <p:cNvSpPr/>
                  <p:nvPr/>
                </p:nvSpPr>
                <p:spPr>
                  <a:xfrm>
                    <a:off x="6063904" y="2785171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59" name="Oval 858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A56B6A33-46C5-4C21-892D-21A503285C9E}"/>
                      </a:ext>
                    </a:extLst>
                  </p:cNvPr>
                  <p:cNvSpPr/>
                  <p:nvPr/>
                </p:nvSpPr>
                <p:spPr>
                  <a:xfrm>
                    <a:off x="6052680" y="2810720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60" name="Oval 859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B3DC2860-C541-4232-95C3-F78109BB2D5E}"/>
                      </a:ext>
                    </a:extLst>
                  </p:cNvPr>
                  <p:cNvSpPr/>
                  <p:nvPr/>
                </p:nvSpPr>
                <p:spPr>
                  <a:xfrm>
                    <a:off x="6051419" y="2836972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62" name="Oval 861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C6C0CA14-E29B-4233-9B48-B1A34B4761A6}"/>
                      </a:ext>
                    </a:extLst>
                  </p:cNvPr>
                  <p:cNvSpPr/>
                  <p:nvPr/>
                </p:nvSpPr>
                <p:spPr>
                  <a:xfrm>
                    <a:off x="7320762" y="4097486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63" name="Oval 862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D9B11419-CC3D-4206-AC51-7AA0D997E89D}"/>
                      </a:ext>
                    </a:extLst>
                  </p:cNvPr>
                  <p:cNvSpPr/>
                  <p:nvPr/>
                </p:nvSpPr>
                <p:spPr>
                  <a:xfrm>
                    <a:off x="8149468" y="4513377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64" name="Oval 863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21FBC2D1-94F7-4DB1-94C7-3D84A038C761}"/>
                      </a:ext>
                    </a:extLst>
                  </p:cNvPr>
                  <p:cNvSpPr/>
                  <p:nvPr/>
                </p:nvSpPr>
                <p:spPr>
                  <a:xfrm>
                    <a:off x="8173499" y="4532905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65" name="Oval 864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C8E22523-C1D1-4CD5-BCC5-9AC1E76CCC10}"/>
                      </a:ext>
                    </a:extLst>
                  </p:cNvPr>
                  <p:cNvSpPr/>
                  <p:nvPr/>
                </p:nvSpPr>
                <p:spPr>
                  <a:xfrm>
                    <a:off x="8202377" y="4549878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67" name="Oval 866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9E70D221-E811-4B7B-B3AD-F7E8CF957892}"/>
                      </a:ext>
                    </a:extLst>
                  </p:cNvPr>
                  <p:cNvSpPr/>
                  <p:nvPr/>
                </p:nvSpPr>
                <p:spPr>
                  <a:xfrm>
                    <a:off x="8427450" y="4731358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68" name="Oval 867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7F76863B-902A-48B3-933F-4320E19987F4}"/>
                      </a:ext>
                    </a:extLst>
                  </p:cNvPr>
                  <p:cNvSpPr/>
                  <p:nvPr/>
                </p:nvSpPr>
                <p:spPr>
                  <a:xfrm>
                    <a:off x="8456726" y="4746043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69" name="Oval 868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FAF69CF4-4FD2-4A65-8E87-0184B77B06A1}"/>
                      </a:ext>
                    </a:extLst>
                  </p:cNvPr>
                  <p:cNvSpPr/>
                  <p:nvPr/>
                </p:nvSpPr>
                <p:spPr>
                  <a:xfrm>
                    <a:off x="8488474" y="4760398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71" name="Oval 870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666DA0E3-7610-4173-A4CE-CD10827FBB1C}"/>
                      </a:ext>
                    </a:extLst>
                  </p:cNvPr>
                  <p:cNvSpPr/>
                  <p:nvPr/>
                </p:nvSpPr>
                <p:spPr>
                  <a:xfrm>
                    <a:off x="8800616" y="4891106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72" name="Oval 871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239F089B-CB17-4E10-8D12-61B51A67D39F}"/>
                      </a:ext>
                    </a:extLst>
                  </p:cNvPr>
                  <p:cNvSpPr/>
                  <p:nvPr/>
                </p:nvSpPr>
                <p:spPr>
                  <a:xfrm>
                    <a:off x="9243195" y="5114497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76" name="Oval 875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690F9DEA-93EE-404B-BF3D-BC0E1681B523}"/>
                      </a:ext>
                    </a:extLst>
                  </p:cNvPr>
                  <p:cNvSpPr/>
                  <p:nvPr/>
                </p:nvSpPr>
                <p:spPr>
                  <a:xfrm>
                    <a:off x="9316060" y="5578570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77" name="Oval 876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43FAEC59-F1CA-469F-A986-A35985E13093}"/>
                      </a:ext>
                    </a:extLst>
                  </p:cNvPr>
                  <p:cNvSpPr/>
                  <p:nvPr/>
                </p:nvSpPr>
                <p:spPr>
                  <a:xfrm>
                    <a:off x="9322144" y="5553543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78" name="Oval 877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5F3AAC06-9ADC-45AB-A4CF-68CBB72FC8B7}"/>
                      </a:ext>
                    </a:extLst>
                  </p:cNvPr>
                  <p:cNvSpPr/>
                  <p:nvPr/>
                </p:nvSpPr>
                <p:spPr>
                  <a:xfrm>
                    <a:off x="9331715" y="5531533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81" name="Oval 880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08434633-8EB7-4DD7-8BB1-8EC2925EC94C}"/>
                      </a:ext>
                    </a:extLst>
                  </p:cNvPr>
                  <p:cNvSpPr/>
                  <p:nvPr/>
                </p:nvSpPr>
                <p:spPr>
                  <a:xfrm>
                    <a:off x="8864687" y="4172940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82" name="Oval 881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79B6BD8E-6B6A-451C-998E-EFF331E4C771}"/>
                      </a:ext>
                    </a:extLst>
                  </p:cNvPr>
                  <p:cNvSpPr/>
                  <p:nvPr/>
                </p:nvSpPr>
                <p:spPr>
                  <a:xfrm>
                    <a:off x="8660460" y="4542658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7" name="Oval 396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49A8EF6F-91BD-4009-BF7C-1CEA8670C08E}"/>
                      </a:ext>
                    </a:extLst>
                  </p:cNvPr>
                  <p:cNvSpPr/>
                  <p:nvPr/>
                </p:nvSpPr>
                <p:spPr>
                  <a:xfrm>
                    <a:off x="8820094" y="6253319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2" name="Oval 401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AC5ADFC2-566F-4EAF-A367-DDF84A76D5CB}"/>
                      </a:ext>
                    </a:extLst>
                  </p:cNvPr>
                  <p:cNvSpPr/>
                  <p:nvPr/>
                </p:nvSpPr>
                <p:spPr>
                  <a:xfrm>
                    <a:off x="8398295" y="4428571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5" name="Oval 404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AA4F90F0-FD91-400B-869D-BA8EC014D584}"/>
                      </a:ext>
                    </a:extLst>
                  </p:cNvPr>
                  <p:cNvSpPr/>
                  <p:nvPr/>
                </p:nvSpPr>
                <p:spPr>
                  <a:xfrm>
                    <a:off x="8852734" y="4055779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6" name="Oval 405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7AD5C838-EDFA-4B25-A38D-9296B804DB10}"/>
                      </a:ext>
                    </a:extLst>
                  </p:cNvPr>
                  <p:cNvSpPr/>
                  <p:nvPr/>
                </p:nvSpPr>
                <p:spPr>
                  <a:xfrm>
                    <a:off x="8859892" y="4085278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12" name="Oval 411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75C81AA0-2C26-49F1-8859-7349380F9131}"/>
                      </a:ext>
                    </a:extLst>
                  </p:cNvPr>
                  <p:cNvSpPr/>
                  <p:nvPr/>
                </p:nvSpPr>
                <p:spPr>
                  <a:xfrm>
                    <a:off x="8529592" y="4577324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13" name="Oval 412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77786D06-9656-4B23-AB27-C3BAD74AC1DF}"/>
                      </a:ext>
                    </a:extLst>
                  </p:cNvPr>
                  <p:cNvSpPr/>
                  <p:nvPr/>
                </p:nvSpPr>
                <p:spPr>
                  <a:xfrm>
                    <a:off x="8547271" y="4588803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15" name="Oval 414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CA6EBC20-8887-412A-9563-648F0B50C957}"/>
                      </a:ext>
                    </a:extLst>
                  </p:cNvPr>
                  <p:cNvSpPr/>
                  <p:nvPr/>
                </p:nvSpPr>
                <p:spPr>
                  <a:xfrm>
                    <a:off x="7519914" y="4174084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16" name="Oval 415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98603FE0-CA90-452A-B483-0DC6A6B589D2}"/>
                      </a:ext>
                    </a:extLst>
                  </p:cNvPr>
                  <p:cNvSpPr/>
                  <p:nvPr/>
                </p:nvSpPr>
                <p:spPr>
                  <a:xfrm>
                    <a:off x="7485150" y="4160596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17" name="Oval 416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50433F35-A319-4C98-BC42-D1BCAC79662E}"/>
                      </a:ext>
                    </a:extLst>
                  </p:cNvPr>
                  <p:cNvSpPr/>
                  <p:nvPr/>
                </p:nvSpPr>
                <p:spPr>
                  <a:xfrm>
                    <a:off x="7468914" y="4151887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18" name="Oval 417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D492A77F-2684-4807-9BF3-0C3BCF93F6F9}"/>
                      </a:ext>
                    </a:extLst>
                  </p:cNvPr>
                  <p:cNvSpPr/>
                  <p:nvPr/>
                </p:nvSpPr>
                <p:spPr>
                  <a:xfrm>
                    <a:off x="7411745" y="4134185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20" name="Oval 419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4B6E5C8E-BE34-4723-9813-1A9B3B8399ED}"/>
                      </a:ext>
                    </a:extLst>
                  </p:cNvPr>
                  <p:cNvSpPr/>
                  <p:nvPr/>
                </p:nvSpPr>
                <p:spPr>
                  <a:xfrm>
                    <a:off x="3903707" y="4147827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21" name="Oval 420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B4E543FF-4F1A-4DF8-A42A-06FD57F0719E}"/>
                      </a:ext>
                    </a:extLst>
                  </p:cNvPr>
                  <p:cNvSpPr/>
                  <p:nvPr/>
                </p:nvSpPr>
                <p:spPr>
                  <a:xfrm>
                    <a:off x="3875608" y="4148338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49" name="Oval 448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E4D30359-F5E6-4242-8FD9-B034D9C373C0}"/>
                      </a:ext>
                    </a:extLst>
                  </p:cNvPr>
                  <p:cNvSpPr/>
                  <p:nvPr/>
                </p:nvSpPr>
                <p:spPr>
                  <a:xfrm>
                    <a:off x="9369040" y="5723907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53" name="Oval 452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46FDD073-F6E0-4038-95A3-78FF635C4AFA}"/>
                      </a:ext>
                    </a:extLst>
                  </p:cNvPr>
                  <p:cNvSpPr/>
                  <p:nvPr/>
                </p:nvSpPr>
                <p:spPr>
                  <a:xfrm>
                    <a:off x="9039513" y="6027872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59" name="Oval 458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5493124D-C0D2-4AD5-9364-13EB6E2C8B7F}"/>
                      </a:ext>
                    </a:extLst>
                  </p:cNvPr>
                  <p:cNvSpPr/>
                  <p:nvPr/>
                </p:nvSpPr>
                <p:spPr>
                  <a:xfrm>
                    <a:off x="8619117" y="3724154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60" name="Oval 459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A8FBF2D4-E441-4A16-8CFB-DB053FEF0FAE}"/>
                      </a:ext>
                    </a:extLst>
                  </p:cNvPr>
                  <p:cNvSpPr/>
                  <p:nvPr/>
                </p:nvSpPr>
                <p:spPr>
                  <a:xfrm>
                    <a:off x="8644239" y="3737159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64" name="Oval 463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45E1B42C-6CD3-4D5F-A142-0E71687E43C7}"/>
                      </a:ext>
                    </a:extLst>
                  </p:cNvPr>
                  <p:cNvSpPr/>
                  <p:nvPr/>
                </p:nvSpPr>
                <p:spPr>
                  <a:xfrm>
                    <a:off x="8863163" y="4188137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65" name="Oval 464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CAF086ED-4F29-4197-A73D-DE5FEE696899}"/>
                      </a:ext>
                    </a:extLst>
                  </p:cNvPr>
                  <p:cNvSpPr/>
                  <p:nvPr/>
                </p:nvSpPr>
                <p:spPr>
                  <a:xfrm>
                    <a:off x="8861639" y="4203334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69" name="Oval 468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9EE3EE9E-91D8-4252-A617-72421C3CBBB5}"/>
                      </a:ext>
                    </a:extLst>
                  </p:cNvPr>
                  <p:cNvSpPr/>
                  <p:nvPr/>
                </p:nvSpPr>
                <p:spPr>
                  <a:xfrm>
                    <a:off x="8222703" y="4568366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70" name="Oval 469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BFB7B1C8-798A-4024-BC90-0735A2ACADB3}"/>
                      </a:ext>
                    </a:extLst>
                  </p:cNvPr>
                  <p:cNvSpPr/>
                  <p:nvPr/>
                </p:nvSpPr>
                <p:spPr>
                  <a:xfrm>
                    <a:off x="8243029" y="4586854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71" name="Oval 470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09A2212F-1087-4CA8-9939-71B3412069BA}"/>
                      </a:ext>
                    </a:extLst>
                  </p:cNvPr>
                  <p:cNvSpPr/>
                  <p:nvPr/>
                </p:nvSpPr>
                <p:spPr>
                  <a:xfrm>
                    <a:off x="8024227" y="4427704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72" name="Oval 471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544C9DB6-80A3-4F9F-8435-CF9F30F5083A}"/>
                      </a:ext>
                    </a:extLst>
                  </p:cNvPr>
                  <p:cNvSpPr/>
                  <p:nvPr/>
                </p:nvSpPr>
                <p:spPr>
                  <a:xfrm>
                    <a:off x="8048007" y="4442766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73" name="Oval 472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E6A79C41-B974-42A5-84E3-EB7F02E026C1}"/>
                      </a:ext>
                    </a:extLst>
                  </p:cNvPr>
                  <p:cNvSpPr/>
                  <p:nvPr/>
                </p:nvSpPr>
                <p:spPr>
                  <a:xfrm>
                    <a:off x="8071787" y="4457828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84" name="Oval 483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DCD56789-CD91-4E18-B6ED-85F49CE31E91}"/>
                      </a:ext>
                    </a:extLst>
                  </p:cNvPr>
                  <p:cNvSpPr/>
                  <p:nvPr/>
                </p:nvSpPr>
                <p:spPr>
                  <a:xfrm>
                    <a:off x="7548842" y="4127153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85" name="Oval 484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43DB51EF-D18F-413C-8CAA-B030AC8B328F}"/>
                      </a:ext>
                    </a:extLst>
                  </p:cNvPr>
                  <p:cNvSpPr/>
                  <p:nvPr/>
                </p:nvSpPr>
                <p:spPr>
                  <a:xfrm>
                    <a:off x="7570785" y="4136092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88" name="Oval 487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614DBB10-713B-4275-9CD6-B4FE580FAD37}"/>
                      </a:ext>
                    </a:extLst>
                  </p:cNvPr>
                  <p:cNvSpPr/>
                  <p:nvPr/>
                </p:nvSpPr>
                <p:spPr>
                  <a:xfrm>
                    <a:off x="7248900" y="4077425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89" name="Oval 488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4283EE15-1554-45CC-9F7C-65497E586ECD}"/>
                      </a:ext>
                    </a:extLst>
                  </p:cNvPr>
                  <p:cNvSpPr/>
                  <p:nvPr/>
                </p:nvSpPr>
                <p:spPr>
                  <a:xfrm>
                    <a:off x="7193277" y="4065548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90" name="Oval 489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42FDE3A8-5DB9-4F6D-971B-52350FB45DA1}"/>
                      </a:ext>
                    </a:extLst>
                  </p:cNvPr>
                  <p:cNvSpPr/>
                  <p:nvPr/>
                </p:nvSpPr>
                <p:spPr>
                  <a:xfrm>
                    <a:off x="7137654" y="4053671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00" name="Oval 499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8382DF4B-DF1D-4334-973D-6C262AB319AE}"/>
                      </a:ext>
                    </a:extLst>
                  </p:cNvPr>
                  <p:cNvSpPr/>
                  <p:nvPr/>
                </p:nvSpPr>
                <p:spPr>
                  <a:xfrm>
                    <a:off x="6133357" y="2634993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12" name="Oval 511">
                    <a:hlinkClick r:id="" action="ppaction://noaction"/>
                    <a:extLst>
                      <a:ext uri="{FF2B5EF4-FFF2-40B4-BE49-F238E27FC236}">
                        <a16:creationId xmlns:a16="http://schemas.microsoft.com/office/drawing/2014/main" id="{4B8CF3EF-0F7C-4B0B-9BE7-60E2C4DFF8F7}"/>
                      </a:ext>
                    </a:extLst>
                  </p:cNvPr>
                  <p:cNvSpPr/>
                  <p:nvPr/>
                </p:nvSpPr>
                <p:spPr>
                  <a:xfrm>
                    <a:off x="8252265" y="6180472"/>
                    <a:ext cx="45720" cy="45720"/>
                  </a:xfrm>
                  <a:prstGeom prst="ellipse">
                    <a:avLst/>
                  </a:prstGeom>
                  <a:solidFill>
                    <a:srgbClr val="FF0000"/>
                  </a:solidFill>
                  <a:ln w="6350"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454" name="Oval 453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6498A816-E408-49D6-B6F4-2AD063B4540E}"/>
                    </a:ext>
                  </a:extLst>
                </p:cNvPr>
                <p:cNvSpPr/>
                <p:nvPr/>
              </p:nvSpPr>
              <p:spPr>
                <a:xfrm>
                  <a:off x="9187835" y="5918164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455" name="Oval 454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806D6432-9744-4EE7-AEDB-270F75FDF4F4}"/>
                    </a:ext>
                  </a:extLst>
                </p:cNvPr>
                <p:cNvSpPr/>
                <p:nvPr/>
              </p:nvSpPr>
              <p:spPr>
                <a:xfrm>
                  <a:off x="9210970" y="5891978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456" name="Oval 455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9978326A-2B8F-4F40-AE37-FED694A174F9}"/>
                    </a:ext>
                  </a:extLst>
                </p:cNvPr>
                <p:cNvSpPr/>
                <p:nvPr/>
              </p:nvSpPr>
              <p:spPr>
                <a:xfrm>
                  <a:off x="9232600" y="5980515"/>
                  <a:ext cx="45720" cy="4572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350" name="Oval 349">
              <a:hlinkClick r:id="" action="ppaction://noaction"/>
              <a:extLst>
                <a:ext uri="{FF2B5EF4-FFF2-40B4-BE49-F238E27FC236}">
                  <a16:creationId xmlns:a16="http://schemas.microsoft.com/office/drawing/2014/main" id="{FB1FE765-7961-44EC-BFC3-62C6817B3811}"/>
                </a:ext>
              </a:extLst>
            </p:cNvPr>
            <p:cNvSpPr/>
            <p:nvPr/>
          </p:nvSpPr>
          <p:spPr>
            <a:xfrm>
              <a:off x="9503384" y="5029875"/>
              <a:ext cx="45720" cy="45720"/>
            </a:xfrm>
            <a:prstGeom prst="ellipse">
              <a:avLst/>
            </a:prstGeom>
            <a:solidFill>
              <a:srgbClr val="FF0000"/>
            </a:solidFill>
            <a:ln w="635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  <p:sp>
          <p:nvSpPr>
            <p:cNvPr id="351" name="Oval 350">
              <a:hlinkClick r:id="" action="ppaction://noaction"/>
              <a:extLst>
                <a:ext uri="{FF2B5EF4-FFF2-40B4-BE49-F238E27FC236}">
                  <a16:creationId xmlns:a16="http://schemas.microsoft.com/office/drawing/2014/main" id="{C8B37F60-9681-4EE9-A4EE-6E28A557FF34}"/>
                </a:ext>
              </a:extLst>
            </p:cNvPr>
            <p:cNvSpPr/>
            <p:nvPr/>
          </p:nvSpPr>
          <p:spPr>
            <a:xfrm>
              <a:off x="9179787" y="4886147"/>
              <a:ext cx="45720" cy="45720"/>
            </a:xfrm>
            <a:prstGeom prst="ellipse">
              <a:avLst/>
            </a:prstGeom>
            <a:solidFill>
              <a:srgbClr val="FF0000"/>
            </a:solidFill>
            <a:ln w="635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  <p:sp>
          <p:nvSpPr>
            <p:cNvPr id="398" name="Oval 397">
              <a:hlinkClick r:id="" action="ppaction://noaction"/>
              <a:extLst>
                <a:ext uri="{FF2B5EF4-FFF2-40B4-BE49-F238E27FC236}">
                  <a16:creationId xmlns:a16="http://schemas.microsoft.com/office/drawing/2014/main" id="{E13A4C01-271E-4E16-BD45-E077B6A04667}"/>
                </a:ext>
              </a:extLst>
            </p:cNvPr>
            <p:cNvSpPr/>
            <p:nvPr/>
          </p:nvSpPr>
          <p:spPr>
            <a:xfrm>
              <a:off x="9465588" y="5015845"/>
              <a:ext cx="45720" cy="45720"/>
            </a:xfrm>
            <a:prstGeom prst="ellipse">
              <a:avLst/>
            </a:prstGeom>
            <a:solidFill>
              <a:srgbClr val="FF0000"/>
            </a:solidFill>
            <a:ln w="635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  <p:sp>
          <p:nvSpPr>
            <p:cNvPr id="399" name="Oval 398">
              <a:hlinkClick r:id="" action="ppaction://noaction"/>
              <a:extLst>
                <a:ext uri="{FF2B5EF4-FFF2-40B4-BE49-F238E27FC236}">
                  <a16:creationId xmlns:a16="http://schemas.microsoft.com/office/drawing/2014/main" id="{9DF4592D-61E6-482E-9637-DEB9FE750863}"/>
                </a:ext>
              </a:extLst>
            </p:cNvPr>
            <p:cNvSpPr/>
            <p:nvPr/>
          </p:nvSpPr>
          <p:spPr>
            <a:xfrm>
              <a:off x="9427792" y="5001815"/>
              <a:ext cx="45720" cy="45720"/>
            </a:xfrm>
            <a:prstGeom prst="ellipse">
              <a:avLst/>
            </a:prstGeom>
            <a:solidFill>
              <a:srgbClr val="FF0000"/>
            </a:solidFill>
            <a:ln w="635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  <p:sp>
          <p:nvSpPr>
            <p:cNvPr id="400" name="Oval 399">
              <a:hlinkClick r:id="" action="ppaction://noaction"/>
              <a:extLst>
                <a:ext uri="{FF2B5EF4-FFF2-40B4-BE49-F238E27FC236}">
                  <a16:creationId xmlns:a16="http://schemas.microsoft.com/office/drawing/2014/main" id="{D84517A0-5D5C-4D8D-980E-655F944A73A9}"/>
                </a:ext>
              </a:extLst>
            </p:cNvPr>
            <p:cNvSpPr/>
            <p:nvPr/>
          </p:nvSpPr>
          <p:spPr>
            <a:xfrm>
              <a:off x="9389996" y="4987785"/>
              <a:ext cx="45720" cy="45720"/>
            </a:xfrm>
            <a:prstGeom prst="ellipse">
              <a:avLst/>
            </a:prstGeom>
            <a:solidFill>
              <a:srgbClr val="FF0000"/>
            </a:solidFill>
            <a:ln w="635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</p:grpSp>
      <p:sp>
        <p:nvSpPr>
          <p:cNvPr id="382" name="Title 1">
            <a:extLst>
              <a:ext uri="{FF2B5EF4-FFF2-40B4-BE49-F238E27FC236}">
                <a16:creationId xmlns:a16="http://schemas.microsoft.com/office/drawing/2014/main" id="{1C681277-88F6-4E38-AFBD-A5059C9C2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48" y="142117"/>
            <a:ext cx="8706687" cy="548724"/>
          </a:xfrm>
        </p:spPr>
        <p:txBody>
          <a:bodyPr/>
          <a:lstStyle/>
          <a:p>
            <a:r>
              <a:rPr lang="en-US" sz="1800" dirty="0"/>
              <a:t>1</a:t>
            </a:r>
            <a:r>
              <a:rPr lang="en-US" sz="1800" baseline="30000" dirty="0"/>
              <a:t>ST</a:t>
            </a:r>
            <a:r>
              <a:rPr lang="en-US" sz="1800" dirty="0"/>
              <a:t> DECEMBER 2020 BACKLOG LIQUIDATION PLAN</a:t>
            </a:r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F8A825DF-D0AD-4AEF-A456-2969358D646E}"/>
              </a:ext>
            </a:extLst>
          </p:cNvPr>
          <p:cNvSpPr/>
          <p:nvPr/>
        </p:nvSpPr>
        <p:spPr>
          <a:xfrm>
            <a:off x="9595298" y="5210175"/>
            <a:ext cx="154796" cy="280988"/>
          </a:xfrm>
          <a:custGeom>
            <a:avLst/>
            <a:gdLst>
              <a:gd name="connsiteX0" fmla="*/ 140494 w 154796"/>
              <a:gd name="connsiteY0" fmla="*/ 0 h 280988"/>
              <a:gd name="connsiteX1" fmla="*/ 154781 w 154796"/>
              <a:gd name="connsiteY1" fmla="*/ 107156 h 280988"/>
              <a:gd name="connsiteX2" fmla="*/ 138112 w 154796"/>
              <a:gd name="connsiteY2" fmla="*/ 159544 h 280988"/>
              <a:gd name="connsiteX3" fmla="*/ 109537 w 154796"/>
              <a:gd name="connsiteY3" fmla="*/ 180975 h 280988"/>
              <a:gd name="connsiteX4" fmla="*/ 69056 w 154796"/>
              <a:gd name="connsiteY4" fmla="*/ 192881 h 280988"/>
              <a:gd name="connsiteX5" fmla="*/ 30956 w 154796"/>
              <a:gd name="connsiteY5" fmla="*/ 216694 h 280988"/>
              <a:gd name="connsiteX6" fmla="*/ 14287 w 154796"/>
              <a:gd name="connsiteY6" fmla="*/ 238125 h 280988"/>
              <a:gd name="connsiteX7" fmla="*/ 0 w 154796"/>
              <a:gd name="connsiteY7" fmla="*/ 280988 h 280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4796" h="280988">
                <a:moveTo>
                  <a:pt x="140494" y="0"/>
                </a:moveTo>
                <a:cubicBezTo>
                  <a:pt x="147836" y="40282"/>
                  <a:pt x="155178" y="80565"/>
                  <a:pt x="154781" y="107156"/>
                </a:cubicBezTo>
                <a:cubicBezTo>
                  <a:pt x="154384" y="133747"/>
                  <a:pt x="145653" y="147241"/>
                  <a:pt x="138112" y="159544"/>
                </a:cubicBezTo>
                <a:cubicBezTo>
                  <a:pt x="130571" y="171847"/>
                  <a:pt x="121046" y="175419"/>
                  <a:pt x="109537" y="180975"/>
                </a:cubicBezTo>
                <a:cubicBezTo>
                  <a:pt x="98028" y="186531"/>
                  <a:pt x="82153" y="186928"/>
                  <a:pt x="69056" y="192881"/>
                </a:cubicBezTo>
                <a:cubicBezTo>
                  <a:pt x="55959" y="198834"/>
                  <a:pt x="40084" y="209153"/>
                  <a:pt x="30956" y="216694"/>
                </a:cubicBezTo>
                <a:cubicBezTo>
                  <a:pt x="21828" y="224235"/>
                  <a:pt x="19446" y="227409"/>
                  <a:pt x="14287" y="238125"/>
                </a:cubicBezTo>
                <a:cubicBezTo>
                  <a:pt x="9128" y="248841"/>
                  <a:pt x="397" y="273844"/>
                  <a:pt x="0" y="280988"/>
                </a:cubicBezTo>
              </a:path>
            </a:pathLst>
          </a:cu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348" name="Rectangle 347">
            <a:extLst>
              <a:ext uri="{FF2B5EF4-FFF2-40B4-BE49-F238E27FC236}">
                <a16:creationId xmlns:a16="http://schemas.microsoft.com/office/drawing/2014/main" id="{BDA9DDDF-BE89-48D6-B708-024CBF2C1A5D}"/>
              </a:ext>
            </a:extLst>
          </p:cNvPr>
          <p:cNvSpPr/>
          <p:nvPr/>
        </p:nvSpPr>
        <p:spPr>
          <a:xfrm>
            <a:off x="99757" y="1095499"/>
            <a:ext cx="1590604" cy="1465761"/>
          </a:xfrm>
          <a:prstGeom prst="rect">
            <a:avLst/>
          </a:prstGeom>
          <a:noFill/>
          <a:ln w="3175">
            <a:solidFill>
              <a:srgbClr val="7F7F7F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349" name="TextBox 348">
            <a:extLst>
              <a:ext uri="{FF2B5EF4-FFF2-40B4-BE49-F238E27FC236}">
                <a16:creationId xmlns:a16="http://schemas.microsoft.com/office/drawing/2014/main" id="{4E85863F-2F30-48F1-8F5F-F1F7F2F751EB}"/>
              </a:ext>
            </a:extLst>
          </p:cNvPr>
          <p:cNvSpPr txBox="1"/>
          <p:nvPr/>
        </p:nvSpPr>
        <p:spPr bwMode="auto">
          <a:xfrm>
            <a:off x="541241" y="1288388"/>
            <a:ext cx="1195026" cy="5346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Pct val="85000"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Pipeline Manifolds</a:t>
            </a:r>
          </a:p>
        </p:txBody>
      </p:sp>
      <p:sp>
        <p:nvSpPr>
          <p:cNvPr id="352" name="Oval 351">
            <a:extLst>
              <a:ext uri="{FF2B5EF4-FFF2-40B4-BE49-F238E27FC236}">
                <a16:creationId xmlns:a16="http://schemas.microsoft.com/office/drawing/2014/main" id="{74B79524-A19D-4489-A95B-C8FBB92C3925}"/>
              </a:ext>
            </a:extLst>
          </p:cNvPr>
          <p:cNvSpPr/>
          <p:nvPr/>
        </p:nvSpPr>
        <p:spPr>
          <a:xfrm>
            <a:off x="276898" y="1337546"/>
            <a:ext cx="145756" cy="130296"/>
          </a:xfrm>
          <a:prstGeom prst="ellipse">
            <a:avLst/>
          </a:prstGeom>
          <a:solidFill>
            <a:srgbClr val="FBCE0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cxnSp>
        <p:nvCxnSpPr>
          <p:cNvPr id="353" name="Straight Connector 352">
            <a:extLst>
              <a:ext uri="{FF2B5EF4-FFF2-40B4-BE49-F238E27FC236}">
                <a16:creationId xmlns:a16="http://schemas.microsoft.com/office/drawing/2014/main" id="{7EC9CF80-EC6F-403D-B4E9-97266AAEB5C0}"/>
              </a:ext>
            </a:extLst>
          </p:cNvPr>
          <p:cNvCxnSpPr>
            <a:cxnSpLocks/>
          </p:cNvCxnSpPr>
          <p:nvPr/>
        </p:nvCxnSpPr>
        <p:spPr>
          <a:xfrm>
            <a:off x="264806" y="1594964"/>
            <a:ext cx="147051" cy="0"/>
          </a:xfrm>
          <a:prstGeom prst="lin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54" name="TextBox 353">
            <a:extLst>
              <a:ext uri="{FF2B5EF4-FFF2-40B4-BE49-F238E27FC236}">
                <a16:creationId xmlns:a16="http://schemas.microsoft.com/office/drawing/2014/main" id="{ED7E7D4E-FC35-4F99-A22D-A7100FDE215B}"/>
              </a:ext>
            </a:extLst>
          </p:cNvPr>
          <p:cNvSpPr txBox="1"/>
          <p:nvPr/>
        </p:nvSpPr>
        <p:spPr bwMode="auto">
          <a:xfrm>
            <a:off x="541241" y="1465373"/>
            <a:ext cx="1195026" cy="194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Pct val="85000"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Pipelines</a:t>
            </a:r>
          </a:p>
        </p:txBody>
      </p:sp>
      <p:sp>
        <p:nvSpPr>
          <p:cNvPr id="355" name="TextBox 354">
            <a:extLst>
              <a:ext uri="{FF2B5EF4-FFF2-40B4-BE49-F238E27FC236}">
                <a16:creationId xmlns:a16="http://schemas.microsoft.com/office/drawing/2014/main" id="{4AE7421E-D1AF-411E-BB47-D8399C5B6A4E}"/>
              </a:ext>
            </a:extLst>
          </p:cNvPr>
          <p:cNvSpPr txBox="1"/>
          <p:nvPr/>
        </p:nvSpPr>
        <p:spPr bwMode="auto">
          <a:xfrm>
            <a:off x="669058" y="1061599"/>
            <a:ext cx="1195026" cy="2527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Pct val="85000"/>
              <a:buFontTx/>
              <a:buNone/>
              <a:tabLst/>
              <a:defRPr/>
            </a:pPr>
            <a:r>
              <a:rPr kumimoji="0" lang="en-US" sz="1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LEGEND</a:t>
            </a:r>
          </a:p>
        </p:txBody>
      </p:sp>
      <p:sp>
        <p:nvSpPr>
          <p:cNvPr id="337" name="Oval 336">
            <a:extLst>
              <a:ext uri="{FF2B5EF4-FFF2-40B4-BE49-F238E27FC236}">
                <a16:creationId xmlns:a16="http://schemas.microsoft.com/office/drawing/2014/main" id="{898CF273-FB17-42DD-A2C6-A7EF6936ACC8}"/>
              </a:ext>
            </a:extLst>
          </p:cNvPr>
          <p:cNvSpPr/>
          <p:nvPr/>
        </p:nvSpPr>
        <p:spPr>
          <a:xfrm>
            <a:off x="295837" y="1742861"/>
            <a:ext cx="81598" cy="72963"/>
          </a:xfrm>
          <a:prstGeom prst="ellipse">
            <a:avLst/>
          </a:prstGeom>
          <a:solidFill>
            <a:srgbClr val="ED7D31"/>
          </a:solidFill>
          <a:ln w="6350">
            <a:solidFill>
              <a:srgbClr val="FBCE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338" name="TextBox 337">
            <a:extLst>
              <a:ext uri="{FF2B5EF4-FFF2-40B4-BE49-F238E27FC236}">
                <a16:creationId xmlns:a16="http://schemas.microsoft.com/office/drawing/2014/main" id="{AE479EB9-1859-479C-9999-CC697357AA94}"/>
              </a:ext>
            </a:extLst>
          </p:cNvPr>
          <p:cNvSpPr txBox="1"/>
          <p:nvPr/>
        </p:nvSpPr>
        <p:spPr bwMode="auto">
          <a:xfrm>
            <a:off x="541234" y="1658614"/>
            <a:ext cx="1276945" cy="194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Pct val="85000"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Inactive IC</a:t>
            </a:r>
          </a:p>
        </p:txBody>
      </p:sp>
      <p:sp>
        <p:nvSpPr>
          <p:cNvPr id="339" name="Oval 338">
            <a:extLst>
              <a:ext uri="{FF2B5EF4-FFF2-40B4-BE49-F238E27FC236}">
                <a16:creationId xmlns:a16="http://schemas.microsoft.com/office/drawing/2014/main" id="{EDB2D6D4-B275-4F9C-8649-EC7E995BF16D}"/>
              </a:ext>
            </a:extLst>
          </p:cNvPr>
          <p:cNvSpPr/>
          <p:nvPr/>
        </p:nvSpPr>
        <p:spPr>
          <a:xfrm>
            <a:off x="295837" y="1927651"/>
            <a:ext cx="81598" cy="72963"/>
          </a:xfrm>
          <a:prstGeom prst="ellipse">
            <a:avLst/>
          </a:prstGeom>
          <a:solidFill>
            <a:srgbClr val="FF0000"/>
          </a:solidFill>
          <a:ln w="63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341" name="TextBox 340">
            <a:extLst>
              <a:ext uri="{FF2B5EF4-FFF2-40B4-BE49-F238E27FC236}">
                <a16:creationId xmlns:a16="http://schemas.microsoft.com/office/drawing/2014/main" id="{89BC3DD0-C151-45E5-8410-BEE726081ABB}"/>
              </a:ext>
            </a:extLst>
          </p:cNvPr>
          <p:cNvSpPr txBox="1"/>
          <p:nvPr/>
        </p:nvSpPr>
        <p:spPr bwMode="auto">
          <a:xfrm>
            <a:off x="542990" y="1870352"/>
            <a:ext cx="1276945" cy="2534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Pct val="85000"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Active IC</a:t>
            </a:r>
          </a:p>
        </p:txBody>
      </p:sp>
      <p:pic>
        <p:nvPicPr>
          <p:cNvPr id="342" name="Picture 341">
            <a:extLst>
              <a:ext uri="{FF2B5EF4-FFF2-40B4-BE49-F238E27FC236}">
                <a16:creationId xmlns:a16="http://schemas.microsoft.com/office/drawing/2014/main" id="{FDD8C1C0-7730-4182-8C98-E703130AF4B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1420" t="15847" r="25683" b="35793"/>
          <a:stretch/>
        </p:blipFill>
        <p:spPr>
          <a:xfrm>
            <a:off x="252080" y="2080651"/>
            <a:ext cx="159089" cy="148200"/>
          </a:xfrm>
          <a:prstGeom prst="rect">
            <a:avLst/>
          </a:prstGeom>
          <a:ln>
            <a:noFill/>
          </a:ln>
        </p:spPr>
      </p:pic>
      <p:sp>
        <p:nvSpPr>
          <p:cNvPr id="344" name="TextBox 343">
            <a:extLst>
              <a:ext uri="{FF2B5EF4-FFF2-40B4-BE49-F238E27FC236}">
                <a16:creationId xmlns:a16="http://schemas.microsoft.com/office/drawing/2014/main" id="{56A7307F-DFBA-4E18-B65F-E6AA3357001A}"/>
              </a:ext>
            </a:extLst>
          </p:cNvPr>
          <p:cNvSpPr txBox="1"/>
          <p:nvPr/>
        </p:nvSpPr>
        <p:spPr bwMode="auto">
          <a:xfrm>
            <a:off x="541235" y="2048631"/>
            <a:ext cx="1276945" cy="2534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Pct val="85000"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Active IR</a:t>
            </a:r>
          </a:p>
        </p:txBody>
      </p:sp>
      <p:sp>
        <p:nvSpPr>
          <p:cNvPr id="345" name="TextBox 344">
            <a:extLst>
              <a:ext uri="{FF2B5EF4-FFF2-40B4-BE49-F238E27FC236}">
                <a16:creationId xmlns:a16="http://schemas.microsoft.com/office/drawing/2014/main" id="{68F9088E-7744-4910-859C-E4630D657EFB}"/>
              </a:ext>
            </a:extLst>
          </p:cNvPr>
          <p:cNvSpPr txBox="1"/>
          <p:nvPr/>
        </p:nvSpPr>
        <p:spPr bwMode="auto">
          <a:xfrm>
            <a:off x="531809" y="2234812"/>
            <a:ext cx="1276945" cy="2534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Pct val="85000"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Destroyed IR</a:t>
            </a:r>
          </a:p>
        </p:txBody>
      </p:sp>
      <p:sp>
        <p:nvSpPr>
          <p:cNvPr id="433" name="TextBox 432">
            <a:extLst>
              <a:ext uri="{FF2B5EF4-FFF2-40B4-BE49-F238E27FC236}">
                <a16:creationId xmlns:a16="http://schemas.microsoft.com/office/drawing/2014/main" id="{B23831B3-DF47-496B-AC13-BC0982BE41DC}"/>
              </a:ext>
            </a:extLst>
          </p:cNvPr>
          <p:cNvSpPr txBox="1"/>
          <p:nvPr/>
        </p:nvSpPr>
        <p:spPr bwMode="auto">
          <a:xfrm>
            <a:off x="9492803" y="3943253"/>
            <a:ext cx="133050" cy="3486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5000"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3</a:t>
            </a:r>
          </a:p>
        </p:txBody>
      </p:sp>
      <p:sp>
        <p:nvSpPr>
          <p:cNvPr id="434" name="TextBox 433">
            <a:extLst>
              <a:ext uri="{FF2B5EF4-FFF2-40B4-BE49-F238E27FC236}">
                <a16:creationId xmlns:a16="http://schemas.microsoft.com/office/drawing/2014/main" id="{6B126ADF-38BC-457F-986A-31E34C763122}"/>
              </a:ext>
            </a:extLst>
          </p:cNvPr>
          <p:cNvSpPr txBox="1"/>
          <p:nvPr/>
        </p:nvSpPr>
        <p:spPr bwMode="auto">
          <a:xfrm>
            <a:off x="8211220" y="4577429"/>
            <a:ext cx="133050" cy="3486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5000"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4</a:t>
            </a:r>
          </a:p>
        </p:txBody>
      </p:sp>
      <p:sp>
        <p:nvSpPr>
          <p:cNvPr id="435" name="TextBox 434">
            <a:extLst>
              <a:ext uri="{FF2B5EF4-FFF2-40B4-BE49-F238E27FC236}">
                <a16:creationId xmlns:a16="http://schemas.microsoft.com/office/drawing/2014/main" id="{84FDF1D6-15B3-4F0C-BAFA-13BA6D6B3A37}"/>
              </a:ext>
            </a:extLst>
          </p:cNvPr>
          <p:cNvSpPr txBox="1"/>
          <p:nvPr/>
        </p:nvSpPr>
        <p:spPr bwMode="auto">
          <a:xfrm>
            <a:off x="6950394" y="4009942"/>
            <a:ext cx="133050" cy="3486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5000"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5</a:t>
            </a:r>
          </a:p>
        </p:txBody>
      </p:sp>
      <p:sp>
        <p:nvSpPr>
          <p:cNvPr id="436" name="TextBox 435">
            <a:extLst>
              <a:ext uri="{FF2B5EF4-FFF2-40B4-BE49-F238E27FC236}">
                <a16:creationId xmlns:a16="http://schemas.microsoft.com/office/drawing/2014/main" id="{E18386E8-D461-4999-8457-1E7F132E5BCA}"/>
              </a:ext>
            </a:extLst>
          </p:cNvPr>
          <p:cNvSpPr txBox="1"/>
          <p:nvPr/>
        </p:nvSpPr>
        <p:spPr bwMode="auto">
          <a:xfrm>
            <a:off x="5303568" y="1777489"/>
            <a:ext cx="133050" cy="3486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5000"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6</a:t>
            </a:r>
          </a:p>
        </p:txBody>
      </p:sp>
      <p:sp>
        <p:nvSpPr>
          <p:cNvPr id="437" name="TextBox 436">
            <a:extLst>
              <a:ext uri="{FF2B5EF4-FFF2-40B4-BE49-F238E27FC236}">
                <a16:creationId xmlns:a16="http://schemas.microsoft.com/office/drawing/2014/main" id="{6CB6A4E3-9A9D-4162-86E2-648FB5D1368D}"/>
              </a:ext>
            </a:extLst>
          </p:cNvPr>
          <p:cNvSpPr txBox="1"/>
          <p:nvPr/>
        </p:nvSpPr>
        <p:spPr bwMode="auto">
          <a:xfrm>
            <a:off x="4361552" y="4115838"/>
            <a:ext cx="133050" cy="3486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5000"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8</a:t>
            </a:r>
          </a:p>
        </p:txBody>
      </p:sp>
      <p:sp>
        <p:nvSpPr>
          <p:cNvPr id="438" name="TextBox 437">
            <a:extLst>
              <a:ext uri="{FF2B5EF4-FFF2-40B4-BE49-F238E27FC236}">
                <a16:creationId xmlns:a16="http://schemas.microsoft.com/office/drawing/2014/main" id="{605AC111-FEFA-4FEB-B56F-4FCD6B7228E8}"/>
              </a:ext>
            </a:extLst>
          </p:cNvPr>
          <p:cNvSpPr txBox="1"/>
          <p:nvPr/>
        </p:nvSpPr>
        <p:spPr bwMode="auto">
          <a:xfrm>
            <a:off x="2617349" y="4703005"/>
            <a:ext cx="133050" cy="3486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5000"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9</a:t>
            </a:r>
          </a:p>
        </p:txBody>
      </p:sp>
      <p:sp>
        <p:nvSpPr>
          <p:cNvPr id="439" name="TextBox 438">
            <a:extLst>
              <a:ext uri="{FF2B5EF4-FFF2-40B4-BE49-F238E27FC236}">
                <a16:creationId xmlns:a16="http://schemas.microsoft.com/office/drawing/2014/main" id="{DD066B1E-EF7A-4A1F-952D-4BB12D5325BA}"/>
              </a:ext>
            </a:extLst>
          </p:cNvPr>
          <p:cNvSpPr txBox="1"/>
          <p:nvPr/>
        </p:nvSpPr>
        <p:spPr bwMode="auto">
          <a:xfrm>
            <a:off x="4284607" y="4932812"/>
            <a:ext cx="266098" cy="3486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5000"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10</a:t>
            </a:r>
          </a:p>
        </p:txBody>
      </p:sp>
      <p:sp>
        <p:nvSpPr>
          <p:cNvPr id="440" name="TextBox 439">
            <a:extLst>
              <a:ext uri="{FF2B5EF4-FFF2-40B4-BE49-F238E27FC236}">
                <a16:creationId xmlns:a16="http://schemas.microsoft.com/office/drawing/2014/main" id="{7E9A914B-FE17-4A55-A2D0-B00B4BE41C68}"/>
              </a:ext>
            </a:extLst>
          </p:cNvPr>
          <p:cNvSpPr txBox="1"/>
          <p:nvPr/>
        </p:nvSpPr>
        <p:spPr bwMode="auto">
          <a:xfrm>
            <a:off x="7528495" y="6248458"/>
            <a:ext cx="266098" cy="3486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5000"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11</a:t>
            </a:r>
          </a:p>
        </p:txBody>
      </p:sp>
      <p:pic>
        <p:nvPicPr>
          <p:cNvPr id="371" name="Picture 370">
            <a:extLst>
              <a:ext uri="{FF2B5EF4-FFF2-40B4-BE49-F238E27FC236}">
                <a16:creationId xmlns:a16="http://schemas.microsoft.com/office/drawing/2014/main" id="{3FE5DB88-C0FA-480D-A5CB-FA47781122F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5930" t="16624" r="29896" b="34848"/>
          <a:stretch/>
        </p:blipFill>
        <p:spPr>
          <a:xfrm>
            <a:off x="272235" y="2275060"/>
            <a:ext cx="132513" cy="148200"/>
          </a:xfrm>
          <a:prstGeom prst="rect">
            <a:avLst/>
          </a:prstGeom>
          <a:ln>
            <a:noFill/>
          </a:ln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3A46106E-1082-446E-95EF-FEB8FE777DAD}"/>
              </a:ext>
            </a:extLst>
          </p:cNvPr>
          <p:cNvGrpSpPr/>
          <p:nvPr/>
        </p:nvGrpSpPr>
        <p:grpSpPr>
          <a:xfrm>
            <a:off x="1548776" y="1611362"/>
            <a:ext cx="8320946" cy="4694875"/>
            <a:chOff x="1548776" y="1611362"/>
            <a:chExt cx="8320946" cy="4694875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2B2EBA99-A996-4948-BFEE-831C035A1589}"/>
                </a:ext>
              </a:extLst>
            </p:cNvPr>
            <p:cNvGrpSpPr/>
            <p:nvPr/>
          </p:nvGrpSpPr>
          <p:grpSpPr>
            <a:xfrm>
              <a:off x="1548776" y="1611362"/>
              <a:ext cx="8234042" cy="4694875"/>
              <a:chOff x="1390372" y="1611362"/>
              <a:chExt cx="8234042" cy="4694875"/>
            </a:xfrm>
          </p:grpSpPr>
          <p:grpSp>
            <p:nvGrpSpPr>
              <p:cNvPr id="117" name="Group 116">
                <a:extLst>
                  <a:ext uri="{FF2B5EF4-FFF2-40B4-BE49-F238E27FC236}">
                    <a16:creationId xmlns:a16="http://schemas.microsoft.com/office/drawing/2014/main" id="{173EB173-DE39-4E21-A246-5979DCFB0D34}"/>
                  </a:ext>
                </a:extLst>
              </p:cNvPr>
              <p:cNvGrpSpPr/>
              <p:nvPr/>
            </p:nvGrpSpPr>
            <p:grpSpPr>
              <a:xfrm>
                <a:off x="1390372" y="1611362"/>
                <a:ext cx="8234042" cy="4694875"/>
                <a:chOff x="1390372" y="1611362"/>
                <a:chExt cx="8234042" cy="4694875"/>
              </a:xfrm>
            </p:grpSpPr>
            <p:pic>
              <p:nvPicPr>
                <p:cNvPr id="364" name="Picture 363">
                  <a:extLst>
                    <a:ext uri="{FF2B5EF4-FFF2-40B4-BE49-F238E27FC236}">
                      <a16:creationId xmlns:a16="http://schemas.microsoft.com/office/drawing/2014/main" id="{9CA15DF4-8126-4B63-BDC9-D1D22F93427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/>
                <a:srcRect l="20608" t="13404" r="25810" b="35954"/>
                <a:stretch/>
              </p:blipFill>
              <p:spPr>
                <a:xfrm>
                  <a:off x="8895565" y="5562900"/>
                  <a:ext cx="126219" cy="135935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65" name="Picture 364">
                  <a:extLst>
                    <a:ext uri="{FF2B5EF4-FFF2-40B4-BE49-F238E27FC236}">
                      <a16:creationId xmlns:a16="http://schemas.microsoft.com/office/drawing/2014/main" id="{1DF9904B-E553-4DEB-BDC9-DFFF28F8DDE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/>
                <a:srcRect l="20608" t="13404" r="25810" b="35954"/>
                <a:stretch/>
              </p:blipFill>
              <p:spPr>
                <a:xfrm>
                  <a:off x="9101509" y="5562900"/>
                  <a:ext cx="126219" cy="135935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66" name="Picture 365">
                  <a:extLst>
                    <a:ext uri="{FF2B5EF4-FFF2-40B4-BE49-F238E27FC236}">
                      <a16:creationId xmlns:a16="http://schemas.microsoft.com/office/drawing/2014/main" id="{BA304C4B-5C97-4740-9DA8-214A0C99177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/>
                <a:srcRect l="20608" t="13404" r="25810" b="35954"/>
                <a:stretch/>
              </p:blipFill>
              <p:spPr>
                <a:xfrm>
                  <a:off x="9003494" y="5679573"/>
                  <a:ext cx="126219" cy="135935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67" name="Picture 366">
                  <a:extLst>
                    <a:ext uri="{FF2B5EF4-FFF2-40B4-BE49-F238E27FC236}">
                      <a16:creationId xmlns:a16="http://schemas.microsoft.com/office/drawing/2014/main" id="{850C6D46-A483-4FBE-BEB1-69554C74887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/>
                <a:srcRect l="20608" t="13404" r="25810" b="35954"/>
                <a:stretch/>
              </p:blipFill>
              <p:spPr>
                <a:xfrm>
                  <a:off x="8412862" y="6170302"/>
                  <a:ext cx="126219" cy="135935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68" name="Picture 367">
                  <a:extLst>
                    <a:ext uri="{FF2B5EF4-FFF2-40B4-BE49-F238E27FC236}">
                      <a16:creationId xmlns:a16="http://schemas.microsoft.com/office/drawing/2014/main" id="{16034A78-45CB-441D-910F-759AE04B105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/>
                <a:srcRect l="20608" t="13404" r="25810" b="35954"/>
                <a:stretch/>
              </p:blipFill>
              <p:spPr>
                <a:xfrm>
                  <a:off x="8016988" y="6125254"/>
                  <a:ext cx="126219" cy="135935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75" name="Picture 374">
                  <a:extLst>
                    <a:ext uri="{FF2B5EF4-FFF2-40B4-BE49-F238E27FC236}">
                      <a16:creationId xmlns:a16="http://schemas.microsoft.com/office/drawing/2014/main" id="{5D1AF6E2-88DA-4DFD-8144-0416E02570B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/>
                <a:srcRect l="20608" t="13404" r="25810" b="35954"/>
                <a:stretch/>
              </p:blipFill>
              <p:spPr>
                <a:xfrm>
                  <a:off x="1390372" y="5624802"/>
                  <a:ext cx="126219" cy="135935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95" name="Picture 394">
                  <a:extLst>
                    <a:ext uri="{FF2B5EF4-FFF2-40B4-BE49-F238E27FC236}">
                      <a16:creationId xmlns:a16="http://schemas.microsoft.com/office/drawing/2014/main" id="{8E6D5FB9-8792-4726-BFA3-5532B7C0F8D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/>
                <a:srcRect l="20608" t="13404" r="25810" b="35954"/>
                <a:stretch/>
              </p:blipFill>
              <p:spPr>
                <a:xfrm>
                  <a:off x="6115968" y="1611362"/>
                  <a:ext cx="126219" cy="135935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81" name="Picture 380">
                  <a:extLst>
                    <a:ext uri="{FF2B5EF4-FFF2-40B4-BE49-F238E27FC236}">
                      <a16:creationId xmlns:a16="http://schemas.microsoft.com/office/drawing/2014/main" id="{C6645A55-42E0-4BAA-AA6D-3A513815118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/>
                <a:srcRect l="20608" t="13404" r="25810" b="35954"/>
                <a:stretch/>
              </p:blipFill>
              <p:spPr>
                <a:xfrm>
                  <a:off x="1542398" y="5658581"/>
                  <a:ext cx="126219" cy="135935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450" name="Picture 449">
                  <a:extLst>
                    <a:ext uri="{FF2B5EF4-FFF2-40B4-BE49-F238E27FC236}">
                      <a16:creationId xmlns:a16="http://schemas.microsoft.com/office/drawing/2014/main" id="{1D11ADE2-59DB-4A38-9ABD-992C8B55DBE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/>
                <a:srcRect l="20608" t="13404" r="25810" b="35954"/>
                <a:stretch/>
              </p:blipFill>
              <p:spPr>
                <a:xfrm>
                  <a:off x="9498195" y="5774886"/>
                  <a:ext cx="126219" cy="135935"/>
                </a:xfrm>
                <a:prstGeom prst="rect">
                  <a:avLst/>
                </a:prstGeom>
                <a:ln>
                  <a:noFill/>
                </a:ln>
              </p:spPr>
            </p:pic>
          </p:grpSp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E55C0EF5-2818-4B20-AB31-35DA20CC6CA8}"/>
                  </a:ext>
                </a:extLst>
              </p:cNvPr>
              <p:cNvGrpSpPr/>
              <p:nvPr/>
            </p:nvGrpSpPr>
            <p:grpSpPr>
              <a:xfrm>
                <a:off x="3774088" y="3211535"/>
                <a:ext cx="5451419" cy="2140910"/>
                <a:chOff x="3774088" y="3211535"/>
                <a:chExt cx="5451419" cy="2140910"/>
              </a:xfrm>
            </p:grpSpPr>
            <p:pic>
              <p:nvPicPr>
                <p:cNvPr id="361" name="Picture 360">
                  <a:extLst>
                    <a:ext uri="{FF2B5EF4-FFF2-40B4-BE49-F238E27FC236}">
                      <a16:creationId xmlns:a16="http://schemas.microsoft.com/office/drawing/2014/main" id="{DDF6866E-6C44-4F06-AF66-11BEA29F423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/>
                <a:srcRect l="20608" t="13404" r="25810" b="35954"/>
                <a:stretch/>
              </p:blipFill>
              <p:spPr>
                <a:xfrm>
                  <a:off x="8938815" y="5110611"/>
                  <a:ext cx="126219" cy="135935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62" name="Picture 361">
                  <a:extLst>
                    <a:ext uri="{FF2B5EF4-FFF2-40B4-BE49-F238E27FC236}">
                      <a16:creationId xmlns:a16="http://schemas.microsoft.com/office/drawing/2014/main" id="{37A3765A-73E2-4EEC-BA83-3F6368533AD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/>
                <a:srcRect l="20608" t="13404" r="25810" b="35954"/>
                <a:stretch/>
              </p:blipFill>
              <p:spPr>
                <a:xfrm>
                  <a:off x="9049755" y="5123909"/>
                  <a:ext cx="126219" cy="135935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89" name="Picture 388">
                  <a:extLst>
                    <a:ext uri="{FF2B5EF4-FFF2-40B4-BE49-F238E27FC236}">
                      <a16:creationId xmlns:a16="http://schemas.microsoft.com/office/drawing/2014/main" id="{B67E5CB5-048C-48CF-8223-5671CCC96F5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/>
                <a:srcRect l="20608" t="13404" r="25810" b="35954"/>
                <a:stretch/>
              </p:blipFill>
              <p:spPr>
                <a:xfrm>
                  <a:off x="5370641" y="3612739"/>
                  <a:ext cx="126219" cy="135935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90" name="Picture 389">
                  <a:extLst>
                    <a:ext uri="{FF2B5EF4-FFF2-40B4-BE49-F238E27FC236}">
                      <a16:creationId xmlns:a16="http://schemas.microsoft.com/office/drawing/2014/main" id="{073CF94D-BC11-4F9B-B3FE-1A94D076303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/>
                <a:srcRect l="20608" t="13404" r="25810" b="35954"/>
                <a:stretch/>
              </p:blipFill>
              <p:spPr>
                <a:xfrm>
                  <a:off x="5330518" y="3657338"/>
                  <a:ext cx="126219" cy="135935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91" name="Picture 390">
                  <a:extLst>
                    <a:ext uri="{FF2B5EF4-FFF2-40B4-BE49-F238E27FC236}">
                      <a16:creationId xmlns:a16="http://schemas.microsoft.com/office/drawing/2014/main" id="{7BE82E4A-9076-440C-9BD2-18E02E711C5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/>
                <a:srcRect l="20608" t="13404" r="25810" b="35954"/>
                <a:stretch/>
              </p:blipFill>
              <p:spPr>
                <a:xfrm>
                  <a:off x="4665128" y="3357196"/>
                  <a:ext cx="126219" cy="135935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83" name="Picture 382">
                  <a:extLst>
                    <a:ext uri="{FF2B5EF4-FFF2-40B4-BE49-F238E27FC236}">
                      <a16:creationId xmlns:a16="http://schemas.microsoft.com/office/drawing/2014/main" id="{0A214ADC-8C65-4AEB-B58B-7B9099610C3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/>
                <a:srcRect l="20608" t="13404" r="25810" b="35954"/>
                <a:stretch/>
              </p:blipFill>
              <p:spPr>
                <a:xfrm>
                  <a:off x="4496805" y="3816991"/>
                  <a:ext cx="126219" cy="135935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84" name="Picture 383">
                  <a:extLst>
                    <a:ext uri="{FF2B5EF4-FFF2-40B4-BE49-F238E27FC236}">
                      <a16:creationId xmlns:a16="http://schemas.microsoft.com/office/drawing/2014/main" id="{472CFA61-9712-44B4-A567-6B48E35D5AF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/>
                <a:srcRect l="20608" t="13404" r="25810" b="35954"/>
                <a:stretch/>
              </p:blipFill>
              <p:spPr>
                <a:xfrm>
                  <a:off x="4417110" y="3806302"/>
                  <a:ext cx="126219" cy="135935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85" name="Picture 384">
                  <a:extLst>
                    <a:ext uri="{FF2B5EF4-FFF2-40B4-BE49-F238E27FC236}">
                      <a16:creationId xmlns:a16="http://schemas.microsoft.com/office/drawing/2014/main" id="{395571E9-B1A2-48BF-ADA8-99F154E9DA6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/>
                <a:srcRect l="20608" t="13404" r="25810" b="35954"/>
                <a:stretch/>
              </p:blipFill>
              <p:spPr>
                <a:xfrm>
                  <a:off x="3869577" y="3892067"/>
                  <a:ext cx="126219" cy="135935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86" name="Picture 385">
                  <a:extLst>
                    <a:ext uri="{FF2B5EF4-FFF2-40B4-BE49-F238E27FC236}">
                      <a16:creationId xmlns:a16="http://schemas.microsoft.com/office/drawing/2014/main" id="{3AB9905C-8107-405C-9462-4D529E0186B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/>
                <a:srcRect l="20608" t="13404" r="25810" b="35954"/>
                <a:stretch/>
              </p:blipFill>
              <p:spPr>
                <a:xfrm>
                  <a:off x="3774088" y="3906516"/>
                  <a:ext cx="126219" cy="135935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87" name="Picture 386">
                  <a:extLst>
                    <a:ext uri="{FF2B5EF4-FFF2-40B4-BE49-F238E27FC236}">
                      <a16:creationId xmlns:a16="http://schemas.microsoft.com/office/drawing/2014/main" id="{745FEC56-D9FE-4692-9B91-4415008A3CC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/>
                <a:srcRect l="20608" t="13404" r="25810" b="35954"/>
                <a:stretch/>
              </p:blipFill>
              <p:spPr>
                <a:xfrm>
                  <a:off x="3930812" y="3895746"/>
                  <a:ext cx="126219" cy="135935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446" name="Picture 445">
                  <a:extLst>
                    <a:ext uri="{FF2B5EF4-FFF2-40B4-BE49-F238E27FC236}">
                      <a16:creationId xmlns:a16="http://schemas.microsoft.com/office/drawing/2014/main" id="{B1075347-470A-4E77-9B57-0549B6BFF4A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/>
                <a:srcRect l="20608" t="13404" r="25810" b="35954"/>
                <a:stretch/>
              </p:blipFill>
              <p:spPr>
                <a:xfrm>
                  <a:off x="4573722" y="3829925"/>
                  <a:ext cx="126219" cy="135935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447" name="Picture 446">
                  <a:extLst>
                    <a:ext uri="{FF2B5EF4-FFF2-40B4-BE49-F238E27FC236}">
                      <a16:creationId xmlns:a16="http://schemas.microsoft.com/office/drawing/2014/main" id="{07901AB0-DE56-4A75-A729-CB2E484D2AE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/>
                <a:srcRect l="20608" t="13404" r="25810" b="35954"/>
                <a:stretch/>
              </p:blipFill>
              <p:spPr>
                <a:xfrm>
                  <a:off x="9011936" y="5216510"/>
                  <a:ext cx="126219" cy="135935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448" name="Picture 447">
                  <a:extLst>
                    <a:ext uri="{FF2B5EF4-FFF2-40B4-BE49-F238E27FC236}">
                      <a16:creationId xmlns:a16="http://schemas.microsoft.com/office/drawing/2014/main" id="{0401A04A-7ADF-4D4C-B42A-BC595A43CBE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/>
                <a:srcRect l="20608" t="13404" r="25810" b="35954"/>
                <a:stretch/>
              </p:blipFill>
              <p:spPr>
                <a:xfrm>
                  <a:off x="9099288" y="5215820"/>
                  <a:ext cx="126219" cy="135935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451" name="Picture 450">
                  <a:extLst>
                    <a:ext uri="{FF2B5EF4-FFF2-40B4-BE49-F238E27FC236}">
                      <a16:creationId xmlns:a16="http://schemas.microsoft.com/office/drawing/2014/main" id="{CF96590A-08F7-441C-B978-674E7F340AB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/>
                <a:srcRect l="20608" t="13404" r="25810" b="35954"/>
                <a:stretch/>
              </p:blipFill>
              <p:spPr>
                <a:xfrm>
                  <a:off x="5182283" y="4059865"/>
                  <a:ext cx="126219" cy="135935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452" name="Picture 451">
                  <a:extLst>
                    <a:ext uri="{FF2B5EF4-FFF2-40B4-BE49-F238E27FC236}">
                      <a16:creationId xmlns:a16="http://schemas.microsoft.com/office/drawing/2014/main" id="{ED0BD44E-58C1-4BD4-844E-0FFB28C6B0C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/>
                <a:srcRect l="20608" t="13404" r="25810" b="35954"/>
                <a:stretch/>
              </p:blipFill>
              <p:spPr>
                <a:xfrm>
                  <a:off x="5174090" y="4165440"/>
                  <a:ext cx="126219" cy="135935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461" name="Picture 460">
                  <a:extLst>
                    <a:ext uri="{FF2B5EF4-FFF2-40B4-BE49-F238E27FC236}">
                      <a16:creationId xmlns:a16="http://schemas.microsoft.com/office/drawing/2014/main" id="{C8BBB77A-D162-4456-A970-0390A8E3142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/>
                <a:srcRect l="20608" t="13404" r="25810" b="35954"/>
                <a:stretch/>
              </p:blipFill>
              <p:spPr>
                <a:xfrm>
                  <a:off x="8969551" y="4379792"/>
                  <a:ext cx="126219" cy="135935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504" name="Picture 503">
                  <a:extLst>
                    <a:ext uri="{FF2B5EF4-FFF2-40B4-BE49-F238E27FC236}">
                      <a16:creationId xmlns:a16="http://schemas.microsoft.com/office/drawing/2014/main" id="{515D0168-0A6E-47D2-BD24-6FA4E122FD1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/>
                <a:srcRect l="20608" t="13404" r="25810" b="35954"/>
                <a:stretch/>
              </p:blipFill>
              <p:spPr>
                <a:xfrm>
                  <a:off x="4594889" y="3490176"/>
                  <a:ext cx="126219" cy="135935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505" name="Picture 504">
                  <a:extLst>
                    <a:ext uri="{FF2B5EF4-FFF2-40B4-BE49-F238E27FC236}">
                      <a16:creationId xmlns:a16="http://schemas.microsoft.com/office/drawing/2014/main" id="{D78BDD46-750C-4833-AD9E-E9232B9B6B0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/>
                <a:srcRect l="20608" t="13404" r="25810" b="35954"/>
                <a:stretch/>
              </p:blipFill>
              <p:spPr>
                <a:xfrm>
                  <a:off x="4243030" y="3211535"/>
                  <a:ext cx="126219" cy="135935"/>
                </a:xfrm>
                <a:prstGeom prst="rect">
                  <a:avLst/>
                </a:prstGeom>
                <a:ln>
                  <a:noFill/>
                </a:ln>
              </p:spPr>
            </p:pic>
          </p:grpSp>
        </p:grpSp>
        <p:pic>
          <p:nvPicPr>
            <p:cNvPr id="419" name="Picture 418">
              <a:extLst>
                <a:ext uri="{FF2B5EF4-FFF2-40B4-BE49-F238E27FC236}">
                  <a16:creationId xmlns:a16="http://schemas.microsoft.com/office/drawing/2014/main" id="{D3EF0931-793E-4E34-9B14-477A050D28F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5930" t="16624" r="29896" b="34848"/>
            <a:stretch/>
          </p:blipFill>
          <p:spPr>
            <a:xfrm>
              <a:off x="5622217" y="3962040"/>
              <a:ext cx="98430" cy="110082"/>
            </a:xfrm>
            <a:prstGeom prst="rect">
              <a:avLst/>
            </a:prstGeom>
            <a:ln>
              <a:noFill/>
            </a:ln>
          </p:spPr>
        </p:pic>
        <p:pic>
          <p:nvPicPr>
            <p:cNvPr id="423" name="Picture 422">
              <a:extLst>
                <a:ext uri="{FF2B5EF4-FFF2-40B4-BE49-F238E27FC236}">
                  <a16:creationId xmlns:a16="http://schemas.microsoft.com/office/drawing/2014/main" id="{95B91C82-A74C-4F74-9D05-0EA53D7440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5930" t="16624" r="29896" b="34848"/>
            <a:stretch/>
          </p:blipFill>
          <p:spPr>
            <a:xfrm>
              <a:off x="5687060" y="4034711"/>
              <a:ext cx="98430" cy="110082"/>
            </a:xfrm>
            <a:prstGeom prst="rect">
              <a:avLst/>
            </a:prstGeom>
            <a:ln>
              <a:noFill/>
            </a:ln>
          </p:spPr>
        </p:pic>
        <p:pic>
          <p:nvPicPr>
            <p:cNvPr id="424" name="Picture 423">
              <a:extLst>
                <a:ext uri="{FF2B5EF4-FFF2-40B4-BE49-F238E27FC236}">
                  <a16:creationId xmlns:a16="http://schemas.microsoft.com/office/drawing/2014/main" id="{BBBFB6D5-F386-4089-B38E-EA2F823468B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5930" t="16624" r="29896" b="34848"/>
            <a:stretch/>
          </p:blipFill>
          <p:spPr>
            <a:xfrm>
              <a:off x="5621842" y="4080117"/>
              <a:ext cx="98430" cy="110082"/>
            </a:xfrm>
            <a:prstGeom prst="rect">
              <a:avLst/>
            </a:prstGeom>
            <a:ln>
              <a:noFill/>
            </a:ln>
          </p:spPr>
        </p:pic>
        <p:pic>
          <p:nvPicPr>
            <p:cNvPr id="425" name="Picture 424">
              <a:extLst>
                <a:ext uri="{FF2B5EF4-FFF2-40B4-BE49-F238E27FC236}">
                  <a16:creationId xmlns:a16="http://schemas.microsoft.com/office/drawing/2014/main" id="{0EBC6E57-F65B-451E-9845-FAAFBCB1632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5930" t="16624" r="29896" b="34848"/>
            <a:stretch/>
          </p:blipFill>
          <p:spPr>
            <a:xfrm>
              <a:off x="5626125" y="4175418"/>
              <a:ext cx="98430" cy="110082"/>
            </a:xfrm>
            <a:prstGeom prst="rect">
              <a:avLst/>
            </a:prstGeom>
            <a:ln>
              <a:noFill/>
            </a:ln>
          </p:spPr>
        </p:pic>
        <p:pic>
          <p:nvPicPr>
            <p:cNvPr id="426" name="Picture 425">
              <a:extLst>
                <a:ext uri="{FF2B5EF4-FFF2-40B4-BE49-F238E27FC236}">
                  <a16:creationId xmlns:a16="http://schemas.microsoft.com/office/drawing/2014/main" id="{1D7F0972-3615-416C-AFA8-5FDB2DAB58D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5930" t="16624" r="29896" b="34848"/>
            <a:stretch/>
          </p:blipFill>
          <p:spPr>
            <a:xfrm>
              <a:off x="5540590" y="4115999"/>
              <a:ext cx="98430" cy="110082"/>
            </a:xfrm>
            <a:prstGeom prst="rect">
              <a:avLst/>
            </a:prstGeom>
            <a:ln>
              <a:noFill/>
            </a:ln>
          </p:spPr>
        </p:pic>
        <p:pic>
          <p:nvPicPr>
            <p:cNvPr id="427" name="Picture 426">
              <a:extLst>
                <a:ext uri="{FF2B5EF4-FFF2-40B4-BE49-F238E27FC236}">
                  <a16:creationId xmlns:a16="http://schemas.microsoft.com/office/drawing/2014/main" id="{A6178540-67D4-4F71-AD65-B28C780DBA6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5930" t="16624" r="29896" b="34848"/>
            <a:stretch/>
          </p:blipFill>
          <p:spPr>
            <a:xfrm>
              <a:off x="5504144" y="4202203"/>
              <a:ext cx="98430" cy="110082"/>
            </a:xfrm>
            <a:prstGeom prst="rect">
              <a:avLst/>
            </a:prstGeom>
            <a:ln>
              <a:noFill/>
            </a:ln>
          </p:spPr>
        </p:pic>
        <p:pic>
          <p:nvPicPr>
            <p:cNvPr id="428" name="Picture 427">
              <a:extLst>
                <a:ext uri="{FF2B5EF4-FFF2-40B4-BE49-F238E27FC236}">
                  <a16:creationId xmlns:a16="http://schemas.microsoft.com/office/drawing/2014/main" id="{F0A15921-5464-4073-8C97-978F679ABF8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5930" t="16624" r="29896" b="34848"/>
            <a:stretch/>
          </p:blipFill>
          <p:spPr>
            <a:xfrm>
              <a:off x="5457968" y="4103211"/>
              <a:ext cx="98430" cy="110082"/>
            </a:xfrm>
            <a:prstGeom prst="rect">
              <a:avLst/>
            </a:prstGeom>
            <a:ln>
              <a:noFill/>
            </a:ln>
          </p:spPr>
        </p:pic>
        <p:pic>
          <p:nvPicPr>
            <p:cNvPr id="429" name="Picture 428">
              <a:extLst>
                <a:ext uri="{FF2B5EF4-FFF2-40B4-BE49-F238E27FC236}">
                  <a16:creationId xmlns:a16="http://schemas.microsoft.com/office/drawing/2014/main" id="{DAECF852-4377-4FB8-85FA-C947A3DB588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5930" t="16624" r="29896" b="34848"/>
            <a:stretch/>
          </p:blipFill>
          <p:spPr>
            <a:xfrm>
              <a:off x="5458229" y="3993399"/>
              <a:ext cx="98430" cy="110082"/>
            </a:xfrm>
            <a:prstGeom prst="rect">
              <a:avLst/>
            </a:prstGeom>
            <a:ln>
              <a:noFill/>
            </a:ln>
          </p:spPr>
        </p:pic>
        <p:pic>
          <p:nvPicPr>
            <p:cNvPr id="430" name="Picture 429">
              <a:extLst>
                <a:ext uri="{FF2B5EF4-FFF2-40B4-BE49-F238E27FC236}">
                  <a16:creationId xmlns:a16="http://schemas.microsoft.com/office/drawing/2014/main" id="{570F4024-0CA1-436F-881F-666753DB68D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5930" t="16624" r="29896" b="34848"/>
            <a:stretch/>
          </p:blipFill>
          <p:spPr>
            <a:xfrm>
              <a:off x="9250490" y="5477900"/>
              <a:ext cx="98430" cy="110082"/>
            </a:xfrm>
            <a:prstGeom prst="rect">
              <a:avLst/>
            </a:prstGeom>
            <a:ln>
              <a:noFill/>
            </a:ln>
          </p:spPr>
        </p:pic>
        <p:pic>
          <p:nvPicPr>
            <p:cNvPr id="431" name="Picture 430">
              <a:extLst>
                <a:ext uri="{FF2B5EF4-FFF2-40B4-BE49-F238E27FC236}">
                  <a16:creationId xmlns:a16="http://schemas.microsoft.com/office/drawing/2014/main" id="{4821FFC1-7983-4B4D-90A4-8BBFDCC2FD7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5930" t="16624" r="29896" b="34848"/>
            <a:stretch/>
          </p:blipFill>
          <p:spPr>
            <a:xfrm>
              <a:off x="9319609" y="5400461"/>
              <a:ext cx="98430" cy="110082"/>
            </a:xfrm>
            <a:prstGeom prst="rect">
              <a:avLst/>
            </a:prstGeom>
            <a:ln>
              <a:noFill/>
            </a:ln>
          </p:spPr>
        </p:pic>
        <p:pic>
          <p:nvPicPr>
            <p:cNvPr id="432" name="Picture 431">
              <a:extLst>
                <a:ext uri="{FF2B5EF4-FFF2-40B4-BE49-F238E27FC236}">
                  <a16:creationId xmlns:a16="http://schemas.microsoft.com/office/drawing/2014/main" id="{3B994C1A-B77E-4BFD-9AE1-3C8D962210C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5930" t="16624" r="29896" b="34848"/>
            <a:stretch/>
          </p:blipFill>
          <p:spPr>
            <a:xfrm>
              <a:off x="9683007" y="5699092"/>
              <a:ext cx="98430" cy="110082"/>
            </a:xfrm>
            <a:prstGeom prst="rect">
              <a:avLst/>
            </a:prstGeom>
            <a:ln>
              <a:noFill/>
            </a:ln>
          </p:spPr>
        </p:pic>
        <p:pic>
          <p:nvPicPr>
            <p:cNvPr id="441" name="Picture 440">
              <a:extLst>
                <a:ext uri="{FF2B5EF4-FFF2-40B4-BE49-F238E27FC236}">
                  <a16:creationId xmlns:a16="http://schemas.microsoft.com/office/drawing/2014/main" id="{ED7D55C1-2EB0-45C0-AFD1-B16D86AFA96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5930" t="16624" r="29896" b="34848"/>
            <a:stretch/>
          </p:blipFill>
          <p:spPr>
            <a:xfrm>
              <a:off x="9771292" y="5816203"/>
              <a:ext cx="98430" cy="110082"/>
            </a:xfrm>
            <a:prstGeom prst="rect">
              <a:avLst/>
            </a:prstGeom>
            <a:ln>
              <a:noFill/>
            </a:ln>
          </p:spPr>
        </p:pic>
        <p:pic>
          <p:nvPicPr>
            <p:cNvPr id="442" name="Picture 441">
              <a:extLst>
                <a:ext uri="{FF2B5EF4-FFF2-40B4-BE49-F238E27FC236}">
                  <a16:creationId xmlns:a16="http://schemas.microsoft.com/office/drawing/2014/main" id="{5F6AFF24-640A-42B6-B527-DF26B89E825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5930" t="16624" r="29896" b="34848"/>
            <a:stretch/>
          </p:blipFill>
          <p:spPr>
            <a:xfrm>
              <a:off x="9757179" y="5943217"/>
              <a:ext cx="98430" cy="110082"/>
            </a:xfrm>
            <a:prstGeom prst="rect">
              <a:avLst/>
            </a:prstGeom>
            <a:ln>
              <a:noFill/>
            </a:ln>
          </p:spPr>
        </p:pic>
        <p:pic>
          <p:nvPicPr>
            <p:cNvPr id="443" name="Picture 442">
              <a:extLst>
                <a:ext uri="{FF2B5EF4-FFF2-40B4-BE49-F238E27FC236}">
                  <a16:creationId xmlns:a16="http://schemas.microsoft.com/office/drawing/2014/main" id="{C5C7C480-48C4-4B16-9226-5CF12EFAFCC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5930" t="16624" r="29896" b="34848"/>
            <a:stretch/>
          </p:blipFill>
          <p:spPr>
            <a:xfrm>
              <a:off x="9597699" y="5820727"/>
              <a:ext cx="98430" cy="110082"/>
            </a:xfrm>
            <a:prstGeom prst="rect">
              <a:avLst/>
            </a:prstGeom>
            <a:ln>
              <a:noFill/>
            </a:ln>
          </p:spPr>
        </p:pic>
        <p:pic>
          <p:nvPicPr>
            <p:cNvPr id="462" name="Picture 461">
              <a:extLst>
                <a:ext uri="{FF2B5EF4-FFF2-40B4-BE49-F238E27FC236}">
                  <a16:creationId xmlns:a16="http://schemas.microsoft.com/office/drawing/2014/main" id="{78D79398-D031-449E-96F0-68DF2B18442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5930" t="16624" r="29896" b="34848"/>
            <a:stretch/>
          </p:blipFill>
          <p:spPr>
            <a:xfrm>
              <a:off x="9194422" y="4313843"/>
              <a:ext cx="98430" cy="110082"/>
            </a:xfrm>
            <a:prstGeom prst="rect">
              <a:avLst/>
            </a:prstGeom>
            <a:ln>
              <a:noFill/>
            </a:ln>
          </p:spPr>
        </p:pic>
        <p:pic>
          <p:nvPicPr>
            <p:cNvPr id="463" name="Picture 462">
              <a:extLst>
                <a:ext uri="{FF2B5EF4-FFF2-40B4-BE49-F238E27FC236}">
                  <a16:creationId xmlns:a16="http://schemas.microsoft.com/office/drawing/2014/main" id="{C4978D03-EAEF-468A-B270-98586A2F858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5930" t="16624" r="29896" b="34848"/>
            <a:stretch/>
          </p:blipFill>
          <p:spPr>
            <a:xfrm>
              <a:off x="9280140" y="4313904"/>
              <a:ext cx="98430" cy="110082"/>
            </a:xfrm>
            <a:prstGeom prst="rect">
              <a:avLst/>
            </a:prstGeom>
            <a:ln>
              <a:noFill/>
            </a:ln>
          </p:spPr>
        </p:pic>
        <p:pic>
          <p:nvPicPr>
            <p:cNvPr id="491" name="Picture 490">
              <a:extLst>
                <a:ext uri="{FF2B5EF4-FFF2-40B4-BE49-F238E27FC236}">
                  <a16:creationId xmlns:a16="http://schemas.microsoft.com/office/drawing/2014/main" id="{73AC70EF-F7C8-4084-B4F6-6DC22F1B353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5930" t="16624" r="29896" b="34848"/>
            <a:stretch/>
          </p:blipFill>
          <p:spPr>
            <a:xfrm>
              <a:off x="7622593" y="3920902"/>
              <a:ext cx="98430" cy="110082"/>
            </a:xfrm>
            <a:prstGeom prst="rect">
              <a:avLst/>
            </a:prstGeom>
            <a:ln>
              <a:noFill/>
            </a:ln>
          </p:spPr>
        </p:pic>
        <p:pic>
          <p:nvPicPr>
            <p:cNvPr id="501" name="Picture 500">
              <a:extLst>
                <a:ext uri="{FF2B5EF4-FFF2-40B4-BE49-F238E27FC236}">
                  <a16:creationId xmlns:a16="http://schemas.microsoft.com/office/drawing/2014/main" id="{04992498-701F-4147-B902-B4B4FFF91B7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5930" t="16624" r="29896" b="34848"/>
            <a:stretch/>
          </p:blipFill>
          <p:spPr>
            <a:xfrm>
              <a:off x="4385709" y="3375917"/>
              <a:ext cx="98430" cy="110082"/>
            </a:xfrm>
            <a:prstGeom prst="rect">
              <a:avLst/>
            </a:prstGeom>
            <a:ln>
              <a:noFill/>
            </a:ln>
          </p:spPr>
        </p:pic>
        <p:pic>
          <p:nvPicPr>
            <p:cNvPr id="502" name="Picture 501">
              <a:extLst>
                <a:ext uri="{FF2B5EF4-FFF2-40B4-BE49-F238E27FC236}">
                  <a16:creationId xmlns:a16="http://schemas.microsoft.com/office/drawing/2014/main" id="{93DC7932-83AA-493D-8946-465D9112B15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5930" t="16624" r="29896" b="34848"/>
            <a:stretch/>
          </p:blipFill>
          <p:spPr>
            <a:xfrm>
              <a:off x="4450103" y="3211086"/>
              <a:ext cx="98430" cy="110082"/>
            </a:xfrm>
            <a:prstGeom prst="rect">
              <a:avLst/>
            </a:prstGeom>
            <a:ln>
              <a:noFill/>
            </a:ln>
          </p:spPr>
        </p:pic>
        <p:pic>
          <p:nvPicPr>
            <p:cNvPr id="503" name="Picture 502">
              <a:extLst>
                <a:ext uri="{FF2B5EF4-FFF2-40B4-BE49-F238E27FC236}">
                  <a16:creationId xmlns:a16="http://schemas.microsoft.com/office/drawing/2014/main" id="{D6D744AA-C475-4A78-AD9A-95858C4A7F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5930" t="16624" r="29896" b="34848"/>
            <a:stretch/>
          </p:blipFill>
          <p:spPr>
            <a:xfrm>
              <a:off x="4433539" y="3128231"/>
              <a:ext cx="98430" cy="110082"/>
            </a:xfrm>
            <a:prstGeom prst="rect">
              <a:avLst/>
            </a:prstGeom>
            <a:ln>
              <a:noFill/>
            </a:ln>
          </p:spPr>
        </p:pic>
        <p:pic>
          <p:nvPicPr>
            <p:cNvPr id="506" name="Picture 505">
              <a:extLst>
                <a:ext uri="{FF2B5EF4-FFF2-40B4-BE49-F238E27FC236}">
                  <a16:creationId xmlns:a16="http://schemas.microsoft.com/office/drawing/2014/main" id="{A44AD2F0-460E-4CD7-995A-0249874E553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5930" t="16624" r="29896" b="34848"/>
            <a:stretch/>
          </p:blipFill>
          <p:spPr>
            <a:xfrm>
              <a:off x="4468264" y="3082417"/>
              <a:ext cx="98430" cy="110082"/>
            </a:xfrm>
            <a:prstGeom prst="rect">
              <a:avLst/>
            </a:prstGeom>
            <a:ln>
              <a:noFill/>
            </a:ln>
          </p:spPr>
        </p:pic>
        <p:pic>
          <p:nvPicPr>
            <p:cNvPr id="507" name="Picture 506">
              <a:extLst>
                <a:ext uri="{FF2B5EF4-FFF2-40B4-BE49-F238E27FC236}">
                  <a16:creationId xmlns:a16="http://schemas.microsoft.com/office/drawing/2014/main" id="{D361EFBA-9096-4880-A5E6-3BF39F1A6C5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5930" t="16624" r="29896" b="34848"/>
            <a:stretch/>
          </p:blipFill>
          <p:spPr>
            <a:xfrm>
              <a:off x="4502989" y="3036603"/>
              <a:ext cx="98430" cy="110082"/>
            </a:xfrm>
            <a:prstGeom prst="rect">
              <a:avLst/>
            </a:prstGeom>
            <a:ln>
              <a:noFill/>
            </a:ln>
          </p:spPr>
        </p:pic>
        <p:pic>
          <p:nvPicPr>
            <p:cNvPr id="508" name="Picture 507">
              <a:extLst>
                <a:ext uri="{FF2B5EF4-FFF2-40B4-BE49-F238E27FC236}">
                  <a16:creationId xmlns:a16="http://schemas.microsoft.com/office/drawing/2014/main" id="{2D485E46-525A-45C8-8326-49E673958A0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5930" t="16624" r="29896" b="34848"/>
            <a:stretch/>
          </p:blipFill>
          <p:spPr>
            <a:xfrm>
              <a:off x="4526299" y="3016017"/>
              <a:ext cx="98430" cy="110082"/>
            </a:xfrm>
            <a:prstGeom prst="rect">
              <a:avLst/>
            </a:prstGeom>
            <a:ln>
              <a:noFill/>
            </a:ln>
          </p:spPr>
        </p:pic>
        <p:pic>
          <p:nvPicPr>
            <p:cNvPr id="509" name="Picture 508">
              <a:extLst>
                <a:ext uri="{FF2B5EF4-FFF2-40B4-BE49-F238E27FC236}">
                  <a16:creationId xmlns:a16="http://schemas.microsoft.com/office/drawing/2014/main" id="{AD4388FB-E62C-4A14-B4CD-D311CD3454F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5930" t="16624" r="29896" b="34848"/>
            <a:stretch/>
          </p:blipFill>
          <p:spPr>
            <a:xfrm>
              <a:off x="4561537" y="3013885"/>
              <a:ext cx="98430" cy="110082"/>
            </a:xfrm>
            <a:prstGeom prst="rect">
              <a:avLst/>
            </a:prstGeom>
            <a:ln>
              <a:noFill/>
            </a:ln>
          </p:spPr>
        </p:pic>
        <p:pic>
          <p:nvPicPr>
            <p:cNvPr id="510" name="Picture 509">
              <a:extLst>
                <a:ext uri="{FF2B5EF4-FFF2-40B4-BE49-F238E27FC236}">
                  <a16:creationId xmlns:a16="http://schemas.microsoft.com/office/drawing/2014/main" id="{D5B558B6-5D8F-45B1-B3B0-DE5B64CB9FF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5930" t="16624" r="29896" b="34848"/>
            <a:stretch/>
          </p:blipFill>
          <p:spPr>
            <a:xfrm>
              <a:off x="4365107" y="3165618"/>
              <a:ext cx="98430" cy="110082"/>
            </a:xfrm>
            <a:prstGeom prst="rect">
              <a:avLst/>
            </a:prstGeom>
            <a:ln>
              <a:noFill/>
            </a:ln>
          </p:spPr>
        </p:pic>
        <p:pic>
          <p:nvPicPr>
            <p:cNvPr id="511" name="Picture 510">
              <a:extLst>
                <a:ext uri="{FF2B5EF4-FFF2-40B4-BE49-F238E27FC236}">
                  <a16:creationId xmlns:a16="http://schemas.microsoft.com/office/drawing/2014/main" id="{40212530-C085-4A3E-A579-9D2B4E4C29E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5930" t="16624" r="29896" b="34848"/>
            <a:stretch/>
          </p:blipFill>
          <p:spPr>
            <a:xfrm>
              <a:off x="4399428" y="3146643"/>
              <a:ext cx="98430" cy="110082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D4FC158A-EFF4-474B-8D3C-2FD5DE613767}"/>
              </a:ext>
            </a:extLst>
          </p:cNvPr>
          <p:cNvSpPr txBox="1"/>
          <p:nvPr/>
        </p:nvSpPr>
        <p:spPr bwMode="auto">
          <a:xfrm>
            <a:off x="9373698" y="6043811"/>
            <a:ext cx="246834" cy="3873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5000"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1</a:t>
            </a:r>
          </a:p>
        </p:txBody>
      </p:sp>
      <p:sp>
        <p:nvSpPr>
          <p:cNvPr id="380" name="TextBox 379">
            <a:extLst>
              <a:ext uri="{FF2B5EF4-FFF2-40B4-BE49-F238E27FC236}">
                <a16:creationId xmlns:a16="http://schemas.microsoft.com/office/drawing/2014/main" id="{D90A4994-0689-4EA0-A1F5-6F86AB745E79}"/>
              </a:ext>
            </a:extLst>
          </p:cNvPr>
          <p:cNvSpPr txBox="1"/>
          <p:nvPr/>
        </p:nvSpPr>
        <p:spPr bwMode="auto">
          <a:xfrm>
            <a:off x="4656117" y="3001176"/>
            <a:ext cx="133050" cy="3486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5000"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7</a:t>
            </a:r>
          </a:p>
        </p:txBody>
      </p:sp>
      <p:pic>
        <p:nvPicPr>
          <p:cNvPr id="410" name="Picture 409">
            <a:extLst>
              <a:ext uri="{FF2B5EF4-FFF2-40B4-BE49-F238E27FC236}">
                <a16:creationId xmlns:a16="http://schemas.microsoft.com/office/drawing/2014/main" id="{EF49694B-75CD-48C2-BB30-759093A6D0D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5930" t="16624" r="29896" b="34848"/>
          <a:stretch/>
        </p:blipFill>
        <p:spPr>
          <a:xfrm>
            <a:off x="2379794" y="4378312"/>
            <a:ext cx="98430" cy="110082"/>
          </a:xfrm>
          <a:prstGeom prst="rect">
            <a:avLst/>
          </a:prstGeom>
          <a:ln>
            <a:noFill/>
          </a:ln>
        </p:spPr>
      </p:pic>
      <p:pic>
        <p:nvPicPr>
          <p:cNvPr id="411" name="Picture 410">
            <a:extLst>
              <a:ext uri="{FF2B5EF4-FFF2-40B4-BE49-F238E27FC236}">
                <a16:creationId xmlns:a16="http://schemas.microsoft.com/office/drawing/2014/main" id="{4C5D5687-85B5-467F-A8F5-20EBBB7CF38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5930" t="16624" r="29896" b="34848"/>
          <a:stretch/>
        </p:blipFill>
        <p:spPr>
          <a:xfrm>
            <a:off x="5241004" y="4075567"/>
            <a:ext cx="98430" cy="110082"/>
          </a:xfrm>
          <a:prstGeom prst="rect">
            <a:avLst/>
          </a:prstGeom>
          <a:ln>
            <a:noFill/>
          </a:ln>
        </p:spPr>
      </p:pic>
      <p:pic>
        <p:nvPicPr>
          <p:cNvPr id="422" name="Picture 421">
            <a:extLst>
              <a:ext uri="{FF2B5EF4-FFF2-40B4-BE49-F238E27FC236}">
                <a16:creationId xmlns:a16="http://schemas.microsoft.com/office/drawing/2014/main" id="{723800A5-1F3B-4B8E-9061-B4BCFFD53B1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5930" t="16624" r="29896" b="34848"/>
          <a:stretch/>
        </p:blipFill>
        <p:spPr>
          <a:xfrm>
            <a:off x="5249488" y="4164783"/>
            <a:ext cx="98430" cy="110082"/>
          </a:xfrm>
          <a:prstGeom prst="rect">
            <a:avLst/>
          </a:prstGeom>
          <a:ln>
            <a:noFill/>
          </a:ln>
        </p:spPr>
      </p:pic>
      <p:pic>
        <p:nvPicPr>
          <p:cNvPr id="444" name="Picture 443">
            <a:extLst>
              <a:ext uri="{FF2B5EF4-FFF2-40B4-BE49-F238E27FC236}">
                <a16:creationId xmlns:a16="http://schemas.microsoft.com/office/drawing/2014/main" id="{E1948332-416A-41FA-BC4D-1D6018C8881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5930" t="16624" r="29896" b="34848"/>
          <a:stretch/>
        </p:blipFill>
        <p:spPr>
          <a:xfrm>
            <a:off x="5531333" y="3981005"/>
            <a:ext cx="98430" cy="110082"/>
          </a:xfrm>
          <a:prstGeom prst="rect">
            <a:avLst/>
          </a:prstGeom>
          <a:ln>
            <a:noFill/>
          </a:ln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FEFC7612-57CF-488D-8D58-71FED62BC6D9}"/>
              </a:ext>
            </a:extLst>
          </p:cNvPr>
          <p:cNvSpPr txBox="1"/>
          <p:nvPr/>
        </p:nvSpPr>
        <p:spPr bwMode="auto">
          <a:xfrm>
            <a:off x="9793402" y="4932141"/>
            <a:ext cx="246834" cy="3873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5000"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2</a:t>
            </a:r>
          </a:p>
        </p:txBody>
      </p:sp>
      <p:sp>
        <p:nvSpPr>
          <p:cNvPr id="928" name="Speech Bubble: Oval 927">
            <a:extLst>
              <a:ext uri="{FF2B5EF4-FFF2-40B4-BE49-F238E27FC236}">
                <a16:creationId xmlns:a16="http://schemas.microsoft.com/office/drawing/2014/main" id="{8DB7D4F0-12D1-435B-B6AF-75B63AE99FF7}"/>
              </a:ext>
            </a:extLst>
          </p:cNvPr>
          <p:cNvSpPr/>
          <p:nvPr/>
        </p:nvSpPr>
        <p:spPr>
          <a:xfrm>
            <a:off x="8068686" y="2092969"/>
            <a:ext cx="1227873" cy="815035"/>
          </a:xfrm>
          <a:prstGeom prst="wedgeEllipseCallout">
            <a:avLst>
              <a:gd name="adj1" fmla="val -41841"/>
              <a:gd name="adj2" fmla="val 196656"/>
            </a:avLst>
          </a:prstGeom>
          <a:solidFill>
            <a:schemeClr val="accent6">
              <a:lumMod val="20000"/>
              <a:lumOff val="80000"/>
            </a:schemeClr>
          </a:solidFill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PCI: 1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REM: 4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CERT: 3</a:t>
            </a:r>
          </a:p>
        </p:txBody>
      </p:sp>
      <p:sp>
        <p:nvSpPr>
          <p:cNvPr id="77" name="Speech Bubble: Oval 76">
            <a:extLst>
              <a:ext uri="{FF2B5EF4-FFF2-40B4-BE49-F238E27FC236}">
                <a16:creationId xmlns:a16="http://schemas.microsoft.com/office/drawing/2014/main" id="{D2220765-5B8D-4574-B03D-C4CCE8BB07EB}"/>
              </a:ext>
            </a:extLst>
          </p:cNvPr>
          <p:cNvSpPr/>
          <p:nvPr/>
        </p:nvSpPr>
        <p:spPr>
          <a:xfrm>
            <a:off x="10764770" y="2462748"/>
            <a:ext cx="1427230" cy="1388652"/>
          </a:xfrm>
          <a:prstGeom prst="wedgeEllipseCallout">
            <a:avLst>
              <a:gd name="adj1" fmla="val -127756"/>
              <a:gd name="adj2" fmla="val 80208"/>
            </a:avLst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FLC: 3 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PCI: 3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REM: 5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CERT: 6</a:t>
            </a:r>
            <a:endParaRPr kumimoji="0" lang="en-US" sz="1400" b="0" i="0" u="none" strike="noStrike" kern="1200" cap="none" spc="0" normalizeH="0" baseline="0" noProof="0" dirty="0">
              <a:ln>
                <a:solidFill>
                  <a:srgbClr val="FF0000"/>
                </a:solidFill>
              </a:ln>
              <a:solidFill>
                <a:srgbClr val="FF000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79" name="Speech Bubble: Oval 78">
            <a:extLst>
              <a:ext uri="{FF2B5EF4-FFF2-40B4-BE49-F238E27FC236}">
                <a16:creationId xmlns:a16="http://schemas.microsoft.com/office/drawing/2014/main" id="{DD0D26C3-CA59-46A3-9AAD-E988A3AFF50F}"/>
              </a:ext>
            </a:extLst>
          </p:cNvPr>
          <p:cNvSpPr/>
          <p:nvPr/>
        </p:nvSpPr>
        <p:spPr>
          <a:xfrm>
            <a:off x="6705366" y="2748796"/>
            <a:ext cx="1240404" cy="663022"/>
          </a:xfrm>
          <a:prstGeom prst="wedgeEllipseCallout">
            <a:avLst>
              <a:gd name="adj1" fmla="val -46814"/>
              <a:gd name="adj2" fmla="val 104036"/>
            </a:avLst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PCI: 1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CERT: 1</a:t>
            </a:r>
          </a:p>
        </p:txBody>
      </p:sp>
      <p:sp>
        <p:nvSpPr>
          <p:cNvPr id="112" name="Speech Bubble: Oval 111">
            <a:extLst>
              <a:ext uri="{FF2B5EF4-FFF2-40B4-BE49-F238E27FC236}">
                <a16:creationId xmlns:a16="http://schemas.microsoft.com/office/drawing/2014/main" id="{3ACF1886-4F06-4573-979F-A03F68DA4077}"/>
              </a:ext>
            </a:extLst>
          </p:cNvPr>
          <p:cNvSpPr/>
          <p:nvPr/>
        </p:nvSpPr>
        <p:spPr>
          <a:xfrm>
            <a:off x="3391610" y="532252"/>
            <a:ext cx="1336747" cy="874997"/>
          </a:xfrm>
          <a:prstGeom prst="wedgeEllipseCallout">
            <a:avLst>
              <a:gd name="adj1" fmla="val 81122"/>
              <a:gd name="adj2" fmla="val 113164"/>
            </a:avLst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PCI: 3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REM: 11</a:t>
            </a:r>
          </a:p>
        </p:txBody>
      </p:sp>
      <p:sp>
        <p:nvSpPr>
          <p:cNvPr id="115" name="Speech Bubble: Oval 114">
            <a:extLst>
              <a:ext uri="{FF2B5EF4-FFF2-40B4-BE49-F238E27FC236}">
                <a16:creationId xmlns:a16="http://schemas.microsoft.com/office/drawing/2014/main" id="{C2754116-4A56-4010-B7BB-9B2B9FD255E4}"/>
              </a:ext>
            </a:extLst>
          </p:cNvPr>
          <p:cNvSpPr/>
          <p:nvPr/>
        </p:nvSpPr>
        <p:spPr>
          <a:xfrm>
            <a:off x="2219300" y="1601839"/>
            <a:ext cx="1336747" cy="874997"/>
          </a:xfrm>
          <a:prstGeom prst="wedgeEllipseCallout">
            <a:avLst>
              <a:gd name="adj1" fmla="val 81122"/>
              <a:gd name="adj2" fmla="val 102228"/>
            </a:avLst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FLC: 3 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PCI: 7</a:t>
            </a:r>
          </a:p>
        </p:txBody>
      </p:sp>
      <p:sp>
        <p:nvSpPr>
          <p:cNvPr id="116" name="Speech Bubble: Oval 115">
            <a:extLst>
              <a:ext uri="{FF2B5EF4-FFF2-40B4-BE49-F238E27FC236}">
                <a16:creationId xmlns:a16="http://schemas.microsoft.com/office/drawing/2014/main" id="{EC7E7905-1432-46C6-B6D6-CE900A718DC3}"/>
              </a:ext>
            </a:extLst>
          </p:cNvPr>
          <p:cNvSpPr/>
          <p:nvPr/>
        </p:nvSpPr>
        <p:spPr>
          <a:xfrm>
            <a:off x="501907" y="2693674"/>
            <a:ext cx="1336747" cy="874997"/>
          </a:xfrm>
          <a:prstGeom prst="wedgeEllipseCallout">
            <a:avLst>
              <a:gd name="adj1" fmla="val 143164"/>
              <a:gd name="adj2" fmla="val 86431"/>
            </a:avLst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FLC: 2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PCI: 3</a:t>
            </a:r>
          </a:p>
        </p:txBody>
      </p:sp>
      <p:sp>
        <p:nvSpPr>
          <p:cNvPr id="118" name="Speech Bubble: Oval 117">
            <a:extLst>
              <a:ext uri="{FF2B5EF4-FFF2-40B4-BE49-F238E27FC236}">
                <a16:creationId xmlns:a16="http://schemas.microsoft.com/office/drawing/2014/main" id="{4FCE5BA7-A75B-4665-B7C7-CDFD16646493}"/>
              </a:ext>
            </a:extLst>
          </p:cNvPr>
          <p:cNvSpPr/>
          <p:nvPr/>
        </p:nvSpPr>
        <p:spPr>
          <a:xfrm>
            <a:off x="244920" y="5810515"/>
            <a:ext cx="1336747" cy="874997"/>
          </a:xfrm>
          <a:prstGeom prst="wedgeEllipseCallout">
            <a:avLst>
              <a:gd name="adj1" fmla="val 36618"/>
              <a:gd name="adj2" fmla="val -109861"/>
            </a:avLst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PCI: 1</a:t>
            </a:r>
          </a:p>
        </p:txBody>
      </p:sp>
      <p:sp>
        <p:nvSpPr>
          <p:cNvPr id="119" name="Speech Bubble: Oval 118">
            <a:extLst>
              <a:ext uri="{FF2B5EF4-FFF2-40B4-BE49-F238E27FC236}">
                <a16:creationId xmlns:a16="http://schemas.microsoft.com/office/drawing/2014/main" id="{66DCB054-93AD-4DDB-BE89-CF4791E3602C}"/>
              </a:ext>
            </a:extLst>
          </p:cNvPr>
          <p:cNvSpPr/>
          <p:nvPr/>
        </p:nvSpPr>
        <p:spPr>
          <a:xfrm>
            <a:off x="3010618" y="5556611"/>
            <a:ext cx="1072094" cy="567036"/>
          </a:xfrm>
          <a:prstGeom prst="wedgeEllipseCallout">
            <a:avLst>
              <a:gd name="adj1" fmla="val 39483"/>
              <a:gd name="adj2" fmla="val -150239"/>
            </a:avLst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PCI: 1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2043533-C52D-438B-8255-4808D60B30EC}"/>
              </a:ext>
            </a:extLst>
          </p:cNvPr>
          <p:cNvSpPr txBox="1"/>
          <p:nvPr/>
        </p:nvSpPr>
        <p:spPr bwMode="auto">
          <a:xfrm>
            <a:off x="9962877" y="5891978"/>
            <a:ext cx="2224872" cy="882614"/>
          </a:xfrm>
          <a:prstGeom prst="rect">
            <a:avLst/>
          </a:prstGeom>
          <a:noFill/>
          <a:ln w="9525" algn="ctr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01613" marR="0" lvl="0" indent="-201613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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FLC: First Line Clean up</a:t>
            </a:r>
          </a:p>
          <a:p>
            <a:pPr marL="201613" marR="0" lvl="0" indent="-201613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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PCI: Post Clean Up Assessment</a:t>
            </a:r>
          </a:p>
          <a:p>
            <a:pPr marL="201613" marR="0" lvl="0" indent="-201613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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REM: Remediation</a:t>
            </a:r>
          </a:p>
          <a:p>
            <a:pPr marL="201613" marR="0" lvl="0" indent="-201613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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CERT: Certification</a:t>
            </a:r>
          </a:p>
        </p:txBody>
      </p:sp>
      <p:sp>
        <p:nvSpPr>
          <p:cNvPr id="933" name="TextBox 932">
            <a:extLst>
              <a:ext uri="{FF2B5EF4-FFF2-40B4-BE49-F238E27FC236}">
                <a16:creationId xmlns:a16="http://schemas.microsoft.com/office/drawing/2014/main" id="{40A48CFD-413A-4DD0-8FCD-DDCB42C28163}"/>
              </a:ext>
            </a:extLst>
          </p:cNvPr>
          <p:cNvSpPr txBox="1"/>
          <p:nvPr/>
        </p:nvSpPr>
        <p:spPr bwMode="auto">
          <a:xfrm>
            <a:off x="11145429" y="3465077"/>
            <a:ext cx="813745" cy="31079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5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Total 17</a:t>
            </a:r>
          </a:p>
        </p:txBody>
      </p:sp>
      <p:sp>
        <p:nvSpPr>
          <p:cNvPr id="935" name="TextBox 934">
            <a:extLst>
              <a:ext uri="{FF2B5EF4-FFF2-40B4-BE49-F238E27FC236}">
                <a16:creationId xmlns:a16="http://schemas.microsoft.com/office/drawing/2014/main" id="{7AB74DFD-2768-4EF2-95DC-8D358DFDD0E1}"/>
              </a:ext>
            </a:extLst>
          </p:cNvPr>
          <p:cNvSpPr txBox="1"/>
          <p:nvPr/>
        </p:nvSpPr>
        <p:spPr bwMode="auto">
          <a:xfrm>
            <a:off x="3723669" y="1074029"/>
            <a:ext cx="813745" cy="31079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5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Total 14</a:t>
            </a:r>
          </a:p>
        </p:txBody>
      </p:sp>
      <p:sp>
        <p:nvSpPr>
          <p:cNvPr id="938" name="TextBox 937">
            <a:extLst>
              <a:ext uri="{FF2B5EF4-FFF2-40B4-BE49-F238E27FC236}">
                <a16:creationId xmlns:a16="http://schemas.microsoft.com/office/drawing/2014/main" id="{16BC0675-19FA-4B3F-92F5-42EC4EB770EC}"/>
              </a:ext>
            </a:extLst>
          </p:cNvPr>
          <p:cNvSpPr txBox="1"/>
          <p:nvPr/>
        </p:nvSpPr>
        <p:spPr bwMode="auto">
          <a:xfrm>
            <a:off x="8487087" y="1781967"/>
            <a:ext cx="813745" cy="31079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5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Total 8</a:t>
            </a:r>
          </a:p>
        </p:txBody>
      </p:sp>
      <p:sp>
        <p:nvSpPr>
          <p:cNvPr id="947" name="TextBox 946">
            <a:extLst>
              <a:ext uri="{FF2B5EF4-FFF2-40B4-BE49-F238E27FC236}">
                <a16:creationId xmlns:a16="http://schemas.microsoft.com/office/drawing/2014/main" id="{F791FFCB-0A6C-464E-A290-5F653B094ABB}"/>
              </a:ext>
            </a:extLst>
          </p:cNvPr>
          <p:cNvSpPr txBox="1"/>
          <p:nvPr/>
        </p:nvSpPr>
        <p:spPr bwMode="auto">
          <a:xfrm>
            <a:off x="2571511" y="2161768"/>
            <a:ext cx="813745" cy="31079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5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Total 10</a:t>
            </a:r>
          </a:p>
        </p:txBody>
      </p:sp>
      <p:sp>
        <p:nvSpPr>
          <p:cNvPr id="948" name="TextBox 947">
            <a:extLst>
              <a:ext uri="{FF2B5EF4-FFF2-40B4-BE49-F238E27FC236}">
                <a16:creationId xmlns:a16="http://schemas.microsoft.com/office/drawing/2014/main" id="{7DB80C05-B873-440C-B4A0-52982FBC4E39}"/>
              </a:ext>
            </a:extLst>
          </p:cNvPr>
          <p:cNvSpPr txBox="1"/>
          <p:nvPr/>
        </p:nvSpPr>
        <p:spPr bwMode="auto">
          <a:xfrm>
            <a:off x="872123" y="3241171"/>
            <a:ext cx="813745" cy="31079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5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Total 5</a:t>
            </a:r>
          </a:p>
        </p:txBody>
      </p:sp>
      <p:sp>
        <p:nvSpPr>
          <p:cNvPr id="959" name="TextBox 958">
            <a:extLst>
              <a:ext uri="{FF2B5EF4-FFF2-40B4-BE49-F238E27FC236}">
                <a16:creationId xmlns:a16="http://schemas.microsoft.com/office/drawing/2014/main" id="{85825D8B-D168-415B-AADC-5F91048EDDCB}"/>
              </a:ext>
            </a:extLst>
          </p:cNvPr>
          <p:cNvSpPr txBox="1"/>
          <p:nvPr/>
        </p:nvSpPr>
        <p:spPr bwMode="auto">
          <a:xfrm>
            <a:off x="6844690" y="2403154"/>
            <a:ext cx="813745" cy="31079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5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Total 2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61FCBAC-98DD-4519-86BB-A43D38297A5C}"/>
              </a:ext>
            </a:extLst>
          </p:cNvPr>
          <p:cNvSpPr txBox="1"/>
          <p:nvPr/>
        </p:nvSpPr>
        <p:spPr bwMode="auto">
          <a:xfrm>
            <a:off x="10132362" y="644418"/>
            <a:ext cx="1626972" cy="310791"/>
          </a:xfrm>
          <a:prstGeom prst="rect">
            <a:avLst/>
          </a:prstGeom>
          <a:solidFill>
            <a:schemeClr val="accent1"/>
          </a:solidFill>
          <a:ln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5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Grand Total: 60</a:t>
            </a:r>
          </a:p>
        </p:txBody>
      </p:sp>
    </p:spTree>
    <p:extLst>
      <p:ext uri="{BB962C8B-B14F-4D97-AF65-F5344CB8AC3E}">
        <p14:creationId xmlns:p14="http://schemas.microsoft.com/office/powerpoint/2010/main" val="14530151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Title 1">
            <a:extLst>
              <a:ext uri="{FF2B5EF4-FFF2-40B4-BE49-F238E27FC236}">
                <a16:creationId xmlns:a16="http://schemas.microsoft.com/office/drawing/2014/main" id="{394DDA3A-EFB3-425B-AEF6-6E2283DA94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5619" y="118457"/>
            <a:ext cx="5017962" cy="390875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sz="2000" dirty="0"/>
              <a:t>OSRR DECEMBER 2020 PLAN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19CE282-00EB-4131-A339-CDB175A57B67}"/>
              </a:ext>
            </a:extLst>
          </p:cNvPr>
          <p:cNvGrpSpPr/>
          <p:nvPr/>
        </p:nvGrpSpPr>
        <p:grpSpPr>
          <a:xfrm>
            <a:off x="338115" y="734475"/>
            <a:ext cx="7262723" cy="5426995"/>
            <a:chOff x="338115" y="734475"/>
            <a:chExt cx="7262723" cy="5426995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07BCF30D-D3CE-4B64-AA2E-55177170C837}"/>
                </a:ext>
              </a:extLst>
            </p:cNvPr>
            <p:cNvGrpSpPr/>
            <p:nvPr/>
          </p:nvGrpSpPr>
          <p:grpSpPr>
            <a:xfrm>
              <a:off x="338115" y="734475"/>
              <a:ext cx="7262723" cy="5426995"/>
              <a:chOff x="726112" y="734808"/>
              <a:chExt cx="11157213" cy="5958392"/>
            </a:xfrm>
          </p:grpSpPr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6E9355F6-848E-4812-8625-CFDB0C4A26EC}"/>
                  </a:ext>
                </a:extLst>
              </p:cNvPr>
              <p:cNvSpPr/>
              <p:nvPr/>
            </p:nvSpPr>
            <p:spPr>
              <a:xfrm>
                <a:off x="7984419" y="5552082"/>
                <a:ext cx="756206" cy="461943"/>
              </a:xfrm>
              <a:custGeom>
                <a:avLst/>
                <a:gdLst>
                  <a:gd name="connsiteX0" fmla="*/ 19666 w 237212"/>
                  <a:gd name="connsiteY0" fmla="*/ 91 h 844641"/>
                  <a:gd name="connsiteX1" fmla="*/ 6966 w 237212"/>
                  <a:gd name="connsiteY1" fmla="*/ 69941 h 844641"/>
                  <a:gd name="connsiteX2" fmla="*/ 114916 w 237212"/>
                  <a:gd name="connsiteY2" fmla="*/ 425541 h 844641"/>
                  <a:gd name="connsiteX3" fmla="*/ 229216 w 237212"/>
                  <a:gd name="connsiteY3" fmla="*/ 743041 h 844641"/>
                  <a:gd name="connsiteX4" fmla="*/ 216516 w 237212"/>
                  <a:gd name="connsiteY4" fmla="*/ 812891 h 844641"/>
                  <a:gd name="connsiteX5" fmla="*/ 127616 w 237212"/>
                  <a:gd name="connsiteY5" fmla="*/ 844641 h 844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7212" h="844641">
                    <a:moveTo>
                      <a:pt x="19666" y="91"/>
                    </a:moveTo>
                    <a:cubicBezTo>
                      <a:pt x="5378" y="-438"/>
                      <a:pt x="-8909" y="-967"/>
                      <a:pt x="6966" y="69941"/>
                    </a:cubicBezTo>
                    <a:cubicBezTo>
                      <a:pt x="22841" y="140849"/>
                      <a:pt x="77874" y="313358"/>
                      <a:pt x="114916" y="425541"/>
                    </a:cubicBezTo>
                    <a:cubicBezTo>
                      <a:pt x="151958" y="537724"/>
                      <a:pt x="212283" y="678483"/>
                      <a:pt x="229216" y="743041"/>
                    </a:cubicBezTo>
                    <a:cubicBezTo>
                      <a:pt x="246149" y="807599"/>
                      <a:pt x="233449" y="795958"/>
                      <a:pt x="216516" y="812891"/>
                    </a:cubicBezTo>
                    <a:cubicBezTo>
                      <a:pt x="199583" y="829824"/>
                      <a:pt x="163599" y="837232"/>
                      <a:pt x="127616" y="844641"/>
                    </a:cubicBezTo>
                  </a:path>
                </a:pathLst>
              </a:custGeom>
              <a:noFill/>
              <a:ln w="25400"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endParaRPr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613E9CB2-4140-44FD-85DA-B91EA581D560}"/>
                  </a:ext>
                </a:extLst>
              </p:cNvPr>
              <p:cNvSpPr/>
              <p:nvPr/>
            </p:nvSpPr>
            <p:spPr>
              <a:xfrm>
                <a:off x="1885755" y="857159"/>
                <a:ext cx="5950774" cy="4705350"/>
              </a:xfrm>
              <a:custGeom>
                <a:avLst/>
                <a:gdLst>
                  <a:gd name="connsiteX0" fmla="*/ 0 w 5905500"/>
                  <a:gd name="connsiteY0" fmla="*/ 0 h 4705350"/>
                  <a:gd name="connsiteX1" fmla="*/ 69850 w 5905500"/>
                  <a:gd name="connsiteY1" fmla="*/ 38100 h 4705350"/>
                  <a:gd name="connsiteX2" fmla="*/ 349250 w 5905500"/>
                  <a:gd name="connsiteY2" fmla="*/ 57150 h 4705350"/>
                  <a:gd name="connsiteX3" fmla="*/ 431800 w 5905500"/>
                  <a:gd name="connsiteY3" fmla="*/ 165100 h 4705350"/>
                  <a:gd name="connsiteX4" fmla="*/ 596900 w 5905500"/>
                  <a:gd name="connsiteY4" fmla="*/ 692150 h 4705350"/>
                  <a:gd name="connsiteX5" fmla="*/ 704850 w 5905500"/>
                  <a:gd name="connsiteY5" fmla="*/ 914400 h 4705350"/>
                  <a:gd name="connsiteX6" fmla="*/ 787400 w 5905500"/>
                  <a:gd name="connsiteY6" fmla="*/ 1111250 h 4705350"/>
                  <a:gd name="connsiteX7" fmla="*/ 939800 w 5905500"/>
                  <a:gd name="connsiteY7" fmla="*/ 1416050 h 4705350"/>
                  <a:gd name="connsiteX8" fmla="*/ 1123950 w 5905500"/>
                  <a:gd name="connsiteY8" fmla="*/ 1816100 h 4705350"/>
                  <a:gd name="connsiteX9" fmla="*/ 1397000 w 5905500"/>
                  <a:gd name="connsiteY9" fmla="*/ 2393950 h 4705350"/>
                  <a:gd name="connsiteX10" fmla="*/ 1574800 w 5905500"/>
                  <a:gd name="connsiteY10" fmla="*/ 2622550 h 4705350"/>
                  <a:gd name="connsiteX11" fmla="*/ 2108200 w 5905500"/>
                  <a:gd name="connsiteY11" fmla="*/ 2927350 h 4705350"/>
                  <a:gd name="connsiteX12" fmla="*/ 3054350 w 5905500"/>
                  <a:gd name="connsiteY12" fmla="*/ 3492500 h 4705350"/>
                  <a:gd name="connsiteX13" fmla="*/ 3879850 w 5905500"/>
                  <a:gd name="connsiteY13" fmla="*/ 3835400 h 4705350"/>
                  <a:gd name="connsiteX14" fmla="*/ 4991100 w 5905500"/>
                  <a:gd name="connsiteY14" fmla="*/ 4343400 h 4705350"/>
                  <a:gd name="connsiteX15" fmla="*/ 5905500 w 5905500"/>
                  <a:gd name="connsiteY15" fmla="*/ 4705350 h 4705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905500" h="4705350">
                    <a:moveTo>
                      <a:pt x="0" y="0"/>
                    </a:moveTo>
                    <a:cubicBezTo>
                      <a:pt x="5821" y="14287"/>
                      <a:pt x="11642" y="28575"/>
                      <a:pt x="69850" y="38100"/>
                    </a:cubicBezTo>
                    <a:cubicBezTo>
                      <a:pt x="128058" y="47625"/>
                      <a:pt x="288925" y="35983"/>
                      <a:pt x="349250" y="57150"/>
                    </a:cubicBezTo>
                    <a:cubicBezTo>
                      <a:pt x="409575" y="78317"/>
                      <a:pt x="390525" y="59267"/>
                      <a:pt x="431800" y="165100"/>
                    </a:cubicBezTo>
                    <a:cubicBezTo>
                      <a:pt x="473075" y="270933"/>
                      <a:pt x="551392" y="567267"/>
                      <a:pt x="596900" y="692150"/>
                    </a:cubicBezTo>
                    <a:cubicBezTo>
                      <a:pt x="642408" y="817033"/>
                      <a:pt x="673100" y="844550"/>
                      <a:pt x="704850" y="914400"/>
                    </a:cubicBezTo>
                    <a:cubicBezTo>
                      <a:pt x="736600" y="984250"/>
                      <a:pt x="748242" y="1027642"/>
                      <a:pt x="787400" y="1111250"/>
                    </a:cubicBezTo>
                    <a:cubicBezTo>
                      <a:pt x="826558" y="1194858"/>
                      <a:pt x="883708" y="1298575"/>
                      <a:pt x="939800" y="1416050"/>
                    </a:cubicBezTo>
                    <a:cubicBezTo>
                      <a:pt x="995892" y="1533525"/>
                      <a:pt x="1047750" y="1653117"/>
                      <a:pt x="1123950" y="1816100"/>
                    </a:cubicBezTo>
                    <a:cubicBezTo>
                      <a:pt x="1200150" y="1979083"/>
                      <a:pt x="1321858" y="2259542"/>
                      <a:pt x="1397000" y="2393950"/>
                    </a:cubicBezTo>
                    <a:cubicBezTo>
                      <a:pt x="1472142" y="2528358"/>
                      <a:pt x="1456267" y="2533650"/>
                      <a:pt x="1574800" y="2622550"/>
                    </a:cubicBezTo>
                    <a:cubicBezTo>
                      <a:pt x="1693333" y="2711450"/>
                      <a:pt x="2108200" y="2927350"/>
                      <a:pt x="2108200" y="2927350"/>
                    </a:cubicBezTo>
                    <a:cubicBezTo>
                      <a:pt x="2354792" y="3072342"/>
                      <a:pt x="2759075" y="3341158"/>
                      <a:pt x="3054350" y="3492500"/>
                    </a:cubicBezTo>
                    <a:cubicBezTo>
                      <a:pt x="3349625" y="3643842"/>
                      <a:pt x="3557058" y="3693583"/>
                      <a:pt x="3879850" y="3835400"/>
                    </a:cubicBezTo>
                    <a:cubicBezTo>
                      <a:pt x="4202642" y="3977217"/>
                      <a:pt x="4653492" y="4198408"/>
                      <a:pt x="4991100" y="4343400"/>
                    </a:cubicBezTo>
                    <a:cubicBezTo>
                      <a:pt x="5328708" y="4488392"/>
                      <a:pt x="5617104" y="4596871"/>
                      <a:pt x="5905500" y="4705350"/>
                    </a:cubicBezTo>
                  </a:path>
                </a:pathLst>
              </a:custGeom>
              <a:noFill/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CCB06DC6-171E-4D44-9C17-8404F4A120BD}"/>
                  </a:ext>
                </a:extLst>
              </p:cNvPr>
              <p:cNvSpPr/>
              <p:nvPr/>
            </p:nvSpPr>
            <p:spPr>
              <a:xfrm>
                <a:off x="7804427" y="5562509"/>
                <a:ext cx="237212" cy="844641"/>
              </a:xfrm>
              <a:custGeom>
                <a:avLst/>
                <a:gdLst>
                  <a:gd name="connsiteX0" fmla="*/ 19666 w 237212"/>
                  <a:gd name="connsiteY0" fmla="*/ 91 h 844641"/>
                  <a:gd name="connsiteX1" fmla="*/ 6966 w 237212"/>
                  <a:gd name="connsiteY1" fmla="*/ 69941 h 844641"/>
                  <a:gd name="connsiteX2" fmla="*/ 114916 w 237212"/>
                  <a:gd name="connsiteY2" fmla="*/ 425541 h 844641"/>
                  <a:gd name="connsiteX3" fmla="*/ 229216 w 237212"/>
                  <a:gd name="connsiteY3" fmla="*/ 743041 h 844641"/>
                  <a:gd name="connsiteX4" fmla="*/ 216516 w 237212"/>
                  <a:gd name="connsiteY4" fmla="*/ 812891 h 844641"/>
                  <a:gd name="connsiteX5" fmla="*/ 127616 w 237212"/>
                  <a:gd name="connsiteY5" fmla="*/ 844641 h 844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7212" h="844641">
                    <a:moveTo>
                      <a:pt x="19666" y="91"/>
                    </a:moveTo>
                    <a:cubicBezTo>
                      <a:pt x="5378" y="-438"/>
                      <a:pt x="-8909" y="-967"/>
                      <a:pt x="6966" y="69941"/>
                    </a:cubicBezTo>
                    <a:cubicBezTo>
                      <a:pt x="22841" y="140849"/>
                      <a:pt x="77874" y="313358"/>
                      <a:pt x="114916" y="425541"/>
                    </a:cubicBezTo>
                    <a:cubicBezTo>
                      <a:pt x="151958" y="537724"/>
                      <a:pt x="212283" y="678483"/>
                      <a:pt x="229216" y="743041"/>
                    </a:cubicBezTo>
                    <a:cubicBezTo>
                      <a:pt x="246149" y="807599"/>
                      <a:pt x="233449" y="795958"/>
                      <a:pt x="216516" y="812891"/>
                    </a:cubicBezTo>
                    <a:cubicBezTo>
                      <a:pt x="199583" y="829824"/>
                      <a:pt x="163599" y="837232"/>
                      <a:pt x="127616" y="844641"/>
                    </a:cubicBezTo>
                  </a:path>
                </a:pathLst>
              </a:custGeom>
              <a:noFill/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endParaRPr>
              </a:p>
            </p:txBody>
          </p:sp>
          <p:grpSp>
            <p:nvGrpSpPr>
              <p:cNvPr id="85" name="Group 84">
                <a:extLst>
                  <a:ext uri="{FF2B5EF4-FFF2-40B4-BE49-F238E27FC236}">
                    <a16:creationId xmlns:a16="http://schemas.microsoft.com/office/drawing/2014/main" id="{1D31A9E5-BE1C-4147-A108-A311349FBB13}"/>
                  </a:ext>
                </a:extLst>
              </p:cNvPr>
              <p:cNvGrpSpPr/>
              <p:nvPr/>
            </p:nvGrpSpPr>
            <p:grpSpPr>
              <a:xfrm>
                <a:off x="726112" y="734808"/>
                <a:ext cx="11157213" cy="5685583"/>
                <a:chOff x="4030964" y="2914142"/>
                <a:chExt cx="5162040" cy="3482870"/>
              </a:xfrm>
            </p:grpSpPr>
            <p:sp>
              <p:nvSpPr>
                <p:cNvPr id="86" name="Freeform: Shape 85">
                  <a:extLst>
                    <a:ext uri="{FF2B5EF4-FFF2-40B4-BE49-F238E27FC236}">
                      <a16:creationId xmlns:a16="http://schemas.microsoft.com/office/drawing/2014/main" id="{23773484-95EE-4ECC-9507-DD2728A9B236}"/>
                    </a:ext>
                  </a:extLst>
                </p:cNvPr>
                <p:cNvSpPr/>
                <p:nvPr/>
              </p:nvSpPr>
              <p:spPr>
                <a:xfrm>
                  <a:off x="7386888" y="5859035"/>
                  <a:ext cx="1601664" cy="276589"/>
                </a:xfrm>
                <a:custGeom>
                  <a:avLst/>
                  <a:gdLst>
                    <a:gd name="connsiteX0" fmla="*/ 1601664 w 1601664"/>
                    <a:gd name="connsiteY0" fmla="*/ 276589 h 276589"/>
                    <a:gd name="connsiteX1" fmla="*/ 1281624 w 1601664"/>
                    <a:gd name="connsiteY1" fmla="*/ 221725 h 276589"/>
                    <a:gd name="connsiteX2" fmla="*/ 888432 w 1601664"/>
                    <a:gd name="connsiteY2" fmla="*/ 102853 h 276589"/>
                    <a:gd name="connsiteX3" fmla="*/ 604968 w 1601664"/>
                    <a:gd name="connsiteY3" fmla="*/ 66277 h 276589"/>
                    <a:gd name="connsiteX4" fmla="*/ 65472 w 1601664"/>
                    <a:gd name="connsiteY4" fmla="*/ 2269 h 276589"/>
                    <a:gd name="connsiteX5" fmla="*/ 28896 w 1601664"/>
                    <a:gd name="connsiteY5" fmla="*/ 20557 h 2765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601664" h="276589">
                      <a:moveTo>
                        <a:pt x="1601664" y="276589"/>
                      </a:moveTo>
                      <a:cubicBezTo>
                        <a:pt x="1501080" y="263635"/>
                        <a:pt x="1400496" y="250681"/>
                        <a:pt x="1281624" y="221725"/>
                      </a:cubicBezTo>
                      <a:cubicBezTo>
                        <a:pt x="1162752" y="192769"/>
                        <a:pt x="1001208" y="128761"/>
                        <a:pt x="888432" y="102853"/>
                      </a:cubicBezTo>
                      <a:cubicBezTo>
                        <a:pt x="775656" y="76945"/>
                        <a:pt x="604968" y="66277"/>
                        <a:pt x="604968" y="66277"/>
                      </a:cubicBezTo>
                      <a:lnTo>
                        <a:pt x="65472" y="2269"/>
                      </a:lnTo>
                      <a:cubicBezTo>
                        <a:pt x="-30540" y="-5351"/>
                        <a:pt x="-822" y="7603"/>
                        <a:pt x="28896" y="20557"/>
                      </a:cubicBezTo>
                    </a:path>
                  </a:pathLst>
                </a:custGeom>
                <a:noFill/>
                <a:ln w="28575">
                  <a:solidFill>
                    <a:srgbClr val="00B05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87" name="Freeform: Shape 86">
                  <a:extLst>
                    <a:ext uri="{FF2B5EF4-FFF2-40B4-BE49-F238E27FC236}">
                      <a16:creationId xmlns:a16="http://schemas.microsoft.com/office/drawing/2014/main" id="{887C8393-19D1-4EE5-BAFB-04F70939F6E3}"/>
                    </a:ext>
                  </a:extLst>
                </p:cNvPr>
                <p:cNvSpPr/>
                <p:nvPr/>
              </p:nvSpPr>
              <p:spPr>
                <a:xfrm>
                  <a:off x="7415784" y="5532811"/>
                  <a:ext cx="758952" cy="300715"/>
                </a:xfrm>
                <a:custGeom>
                  <a:avLst/>
                  <a:gdLst>
                    <a:gd name="connsiteX0" fmla="*/ 0 w 758952"/>
                    <a:gd name="connsiteY0" fmla="*/ 291917 h 300715"/>
                    <a:gd name="connsiteX1" fmla="*/ 164592 w 758952"/>
                    <a:gd name="connsiteY1" fmla="*/ 291917 h 300715"/>
                    <a:gd name="connsiteX2" fmla="*/ 201168 w 758952"/>
                    <a:gd name="connsiteY2" fmla="*/ 200477 h 300715"/>
                    <a:gd name="connsiteX3" fmla="*/ 521208 w 758952"/>
                    <a:gd name="connsiteY3" fmla="*/ 17597 h 300715"/>
                    <a:gd name="connsiteX4" fmla="*/ 758952 w 758952"/>
                    <a:gd name="connsiteY4" fmla="*/ 17597 h 3007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58952" h="300715">
                      <a:moveTo>
                        <a:pt x="0" y="291917"/>
                      </a:moveTo>
                      <a:cubicBezTo>
                        <a:pt x="65532" y="299537"/>
                        <a:pt x="131064" y="307157"/>
                        <a:pt x="164592" y="291917"/>
                      </a:cubicBezTo>
                      <a:cubicBezTo>
                        <a:pt x="198120" y="276677"/>
                        <a:pt x="141732" y="246197"/>
                        <a:pt x="201168" y="200477"/>
                      </a:cubicBezTo>
                      <a:cubicBezTo>
                        <a:pt x="260604" y="154757"/>
                        <a:pt x="428244" y="48077"/>
                        <a:pt x="521208" y="17597"/>
                      </a:cubicBezTo>
                      <a:cubicBezTo>
                        <a:pt x="614172" y="-12883"/>
                        <a:pt x="686562" y="2357"/>
                        <a:pt x="758952" y="17597"/>
                      </a:cubicBezTo>
                    </a:path>
                  </a:pathLst>
                </a:custGeom>
                <a:noFill/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88" name="TextBox 87">
                  <a:extLst>
                    <a:ext uri="{FF2B5EF4-FFF2-40B4-BE49-F238E27FC236}">
                      <a16:creationId xmlns:a16="http://schemas.microsoft.com/office/drawing/2014/main" id="{83180A07-E35F-4A47-8285-51005BAB4284}"/>
                    </a:ext>
                  </a:extLst>
                </p:cNvPr>
                <p:cNvSpPr txBox="1"/>
                <p:nvPr/>
              </p:nvSpPr>
              <p:spPr bwMode="auto">
                <a:xfrm>
                  <a:off x="4030964" y="2914142"/>
                  <a:ext cx="387993" cy="169684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lvl="0" indent="0" algn="ctr" defTabSz="35770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DD1D21"/>
                    </a:buClr>
                    <a:buSzPct val="85000"/>
                    <a:buFontTx/>
                    <a:buNone/>
                    <a:tabLst/>
                    <a:defRPr/>
                  </a:pPr>
                  <a:r>
                    <a:rPr kumimoji="0" lang="en-US" sz="9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rPr>
                    <a:t>Forcados Terminal</a:t>
                  </a:r>
                </a:p>
              </p:txBody>
            </p:sp>
            <p:sp>
              <p:nvSpPr>
                <p:cNvPr id="89" name="Oval 88">
                  <a:extLst>
                    <a:ext uri="{FF2B5EF4-FFF2-40B4-BE49-F238E27FC236}">
                      <a16:creationId xmlns:a16="http://schemas.microsoft.com/office/drawing/2014/main" id="{87444C87-1C01-447B-96BC-0D6549F8766A}"/>
                    </a:ext>
                  </a:extLst>
                </p:cNvPr>
                <p:cNvSpPr/>
                <p:nvPr/>
              </p:nvSpPr>
              <p:spPr>
                <a:xfrm>
                  <a:off x="8116282" y="5483347"/>
                  <a:ext cx="142875" cy="11430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90" name="Oval 89">
                  <a:extLst>
                    <a:ext uri="{FF2B5EF4-FFF2-40B4-BE49-F238E27FC236}">
                      <a16:creationId xmlns:a16="http://schemas.microsoft.com/office/drawing/2014/main" id="{790E5725-8E9A-4A01-A01B-643B09931D8C}"/>
                    </a:ext>
                  </a:extLst>
                </p:cNvPr>
                <p:cNvSpPr/>
                <p:nvPr/>
              </p:nvSpPr>
              <p:spPr>
                <a:xfrm>
                  <a:off x="8971280" y="6088833"/>
                  <a:ext cx="142875" cy="11430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91" name="TextBox 90">
                  <a:extLst>
                    <a:ext uri="{FF2B5EF4-FFF2-40B4-BE49-F238E27FC236}">
                      <a16:creationId xmlns:a16="http://schemas.microsoft.com/office/drawing/2014/main" id="{B84F0E95-2E8F-4DA7-A0D0-F3D2681DD9C7}"/>
                    </a:ext>
                  </a:extLst>
                </p:cNvPr>
                <p:cNvSpPr txBox="1"/>
                <p:nvPr/>
              </p:nvSpPr>
              <p:spPr bwMode="auto">
                <a:xfrm>
                  <a:off x="7165871" y="5610564"/>
                  <a:ext cx="451105" cy="206999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lvl="0" indent="0" algn="ctr" defTabSz="35770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DD1D21"/>
                    </a:buClr>
                    <a:buSzPct val="85000"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rPr>
                    <a:t>Brass Creek MF</a:t>
                  </a:r>
                </a:p>
              </p:txBody>
            </p:sp>
            <p:sp>
              <p:nvSpPr>
                <p:cNvPr id="92" name="TextBox 91">
                  <a:extLst>
                    <a:ext uri="{FF2B5EF4-FFF2-40B4-BE49-F238E27FC236}">
                      <a16:creationId xmlns:a16="http://schemas.microsoft.com/office/drawing/2014/main" id="{A804C96B-FC79-4AAE-A8BA-05911940A1FE}"/>
                    </a:ext>
                  </a:extLst>
                </p:cNvPr>
                <p:cNvSpPr txBox="1"/>
                <p:nvPr/>
              </p:nvSpPr>
              <p:spPr bwMode="auto">
                <a:xfrm>
                  <a:off x="8269822" y="5386182"/>
                  <a:ext cx="339317" cy="206999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lvl="0" indent="0" algn="ctr" defTabSz="35770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DD1D21"/>
                    </a:buClr>
                    <a:buSzPct val="85000"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rPr>
                    <a:t>Benisede</a:t>
                  </a: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rPr>
                    <a:t> MF</a:t>
                  </a:r>
                </a:p>
              </p:txBody>
            </p:sp>
            <p:sp>
              <p:nvSpPr>
                <p:cNvPr id="93" name="TextBox 92">
                  <a:extLst>
                    <a:ext uri="{FF2B5EF4-FFF2-40B4-BE49-F238E27FC236}">
                      <a16:creationId xmlns:a16="http://schemas.microsoft.com/office/drawing/2014/main" id="{6E188561-8F8A-4117-A885-BC57976529CA}"/>
                    </a:ext>
                  </a:extLst>
                </p:cNvPr>
                <p:cNvSpPr txBox="1"/>
                <p:nvPr/>
              </p:nvSpPr>
              <p:spPr bwMode="auto">
                <a:xfrm>
                  <a:off x="8892430" y="6208474"/>
                  <a:ext cx="300574" cy="188538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lvl="0" indent="0" algn="ctr" defTabSz="35770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DD1D21"/>
                    </a:buClr>
                    <a:buSzPct val="85000"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rPr>
                    <a:t>Opukushi</a:t>
                  </a: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rPr>
                    <a:t> MF</a:t>
                  </a:r>
                </a:p>
              </p:txBody>
            </p:sp>
            <p:sp>
              <p:nvSpPr>
                <p:cNvPr id="94" name="Rectangle 93">
                  <a:extLst>
                    <a:ext uri="{FF2B5EF4-FFF2-40B4-BE49-F238E27FC236}">
                      <a16:creationId xmlns:a16="http://schemas.microsoft.com/office/drawing/2014/main" id="{4D5DD846-E07D-495F-A035-444579ADA99C}"/>
                    </a:ext>
                  </a:extLst>
                </p:cNvPr>
                <p:cNvSpPr/>
                <p:nvPr/>
              </p:nvSpPr>
              <p:spPr>
                <a:xfrm>
                  <a:off x="4407761" y="2914142"/>
                  <a:ext cx="269875" cy="16510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  <p:sp>
              <p:nvSpPr>
                <p:cNvPr id="95" name="Oval 94">
                  <a:extLst>
                    <a:ext uri="{FF2B5EF4-FFF2-40B4-BE49-F238E27FC236}">
                      <a16:creationId xmlns:a16="http://schemas.microsoft.com/office/drawing/2014/main" id="{5DE8A7F6-D1EA-4E73-85CC-6149697926F0}"/>
                    </a:ext>
                  </a:extLst>
                </p:cNvPr>
                <p:cNvSpPr/>
                <p:nvPr/>
              </p:nvSpPr>
              <p:spPr>
                <a:xfrm>
                  <a:off x="7310120" y="5808417"/>
                  <a:ext cx="142875" cy="11430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CD3F2821-8132-4BC5-8014-4E29F74AE7F6}"/>
                  </a:ext>
                </a:extLst>
              </p:cNvPr>
              <p:cNvSpPr/>
              <p:nvPr/>
            </p:nvSpPr>
            <p:spPr>
              <a:xfrm>
                <a:off x="3524625" y="3452299"/>
                <a:ext cx="234009" cy="292100"/>
              </a:xfrm>
              <a:custGeom>
                <a:avLst/>
                <a:gdLst>
                  <a:gd name="connsiteX0" fmla="*/ 222250 w 234010"/>
                  <a:gd name="connsiteY0" fmla="*/ 0 h 292100"/>
                  <a:gd name="connsiteX1" fmla="*/ 215900 w 234010"/>
                  <a:gd name="connsiteY1" fmla="*/ 139700 h 292100"/>
                  <a:gd name="connsiteX2" fmla="*/ 50800 w 234010"/>
                  <a:gd name="connsiteY2" fmla="*/ 158750 h 292100"/>
                  <a:gd name="connsiteX3" fmla="*/ 0 w 234010"/>
                  <a:gd name="connsiteY3" fmla="*/ 292100 h 292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4010" h="292100">
                    <a:moveTo>
                      <a:pt x="222250" y="0"/>
                    </a:moveTo>
                    <a:cubicBezTo>
                      <a:pt x="233362" y="56621"/>
                      <a:pt x="244475" y="113242"/>
                      <a:pt x="215900" y="139700"/>
                    </a:cubicBezTo>
                    <a:cubicBezTo>
                      <a:pt x="187325" y="166158"/>
                      <a:pt x="86783" y="133350"/>
                      <a:pt x="50800" y="158750"/>
                    </a:cubicBezTo>
                    <a:cubicBezTo>
                      <a:pt x="14817" y="184150"/>
                      <a:pt x="7408" y="238125"/>
                      <a:pt x="0" y="292100"/>
                    </a:cubicBezTo>
                  </a:path>
                </a:pathLst>
              </a:custGeom>
              <a:noFill/>
              <a:ln>
                <a:solidFill>
                  <a:schemeClr val="accent3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E3D1C895-9D7C-4482-8379-765B2BFDF7A4}"/>
                  </a:ext>
                </a:extLst>
              </p:cNvPr>
              <p:cNvSpPr/>
              <p:nvPr/>
            </p:nvSpPr>
            <p:spPr>
              <a:xfrm>
                <a:off x="3582864" y="3497901"/>
                <a:ext cx="234009" cy="292100"/>
              </a:xfrm>
              <a:custGeom>
                <a:avLst/>
                <a:gdLst>
                  <a:gd name="connsiteX0" fmla="*/ 222250 w 234010"/>
                  <a:gd name="connsiteY0" fmla="*/ 0 h 292100"/>
                  <a:gd name="connsiteX1" fmla="*/ 215900 w 234010"/>
                  <a:gd name="connsiteY1" fmla="*/ 139700 h 292100"/>
                  <a:gd name="connsiteX2" fmla="*/ 50800 w 234010"/>
                  <a:gd name="connsiteY2" fmla="*/ 158750 h 292100"/>
                  <a:gd name="connsiteX3" fmla="*/ 0 w 234010"/>
                  <a:gd name="connsiteY3" fmla="*/ 292100 h 292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4010" h="292100">
                    <a:moveTo>
                      <a:pt x="222250" y="0"/>
                    </a:moveTo>
                    <a:cubicBezTo>
                      <a:pt x="233362" y="56621"/>
                      <a:pt x="244475" y="113242"/>
                      <a:pt x="215900" y="139700"/>
                    </a:cubicBezTo>
                    <a:cubicBezTo>
                      <a:pt x="187325" y="166158"/>
                      <a:pt x="86783" y="133350"/>
                      <a:pt x="50800" y="158750"/>
                    </a:cubicBezTo>
                    <a:cubicBezTo>
                      <a:pt x="14817" y="184150"/>
                      <a:pt x="7408" y="238125"/>
                      <a:pt x="0" y="292100"/>
                    </a:cubicBezTo>
                  </a:path>
                </a:pathLst>
              </a:custGeom>
              <a:noFill/>
              <a:ln>
                <a:solidFill>
                  <a:schemeClr val="accent3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456E0387-9056-4ABA-9C51-DE2021BA6A60}"/>
                  </a:ext>
                </a:extLst>
              </p:cNvPr>
              <p:cNvSpPr/>
              <p:nvPr/>
            </p:nvSpPr>
            <p:spPr>
              <a:xfrm>
                <a:off x="6258789" y="4753637"/>
                <a:ext cx="234010" cy="292100"/>
              </a:xfrm>
              <a:custGeom>
                <a:avLst/>
                <a:gdLst>
                  <a:gd name="connsiteX0" fmla="*/ 222250 w 234010"/>
                  <a:gd name="connsiteY0" fmla="*/ 0 h 292100"/>
                  <a:gd name="connsiteX1" fmla="*/ 215900 w 234010"/>
                  <a:gd name="connsiteY1" fmla="*/ 139700 h 292100"/>
                  <a:gd name="connsiteX2" fmla="*/ 50800 w 234010"/>
                  <a:gd name="connsiteY2" fmla="*/ 158750 h 292100"/>
                  <a:gd name="connsiteX3" fmla="*/ 0 w 234010"/>
                  <a:gd name="connsiteY3" fmla="*/ 292100 h 292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4010" h="292100">
                    <a:moveTo>
                      <a:pt x="222250" y="0"/>
                    </a:moveTo>
                    <a:cubicBezTo>
                      <a:pt x="233362" y="56621"/>
                      <a:pt x="244475" y="113242"/>
                      <a:pt x="215900" y="139700"/>
                    </a:cubicBezTo>
                    <a:cubicBezTo>
                      <a:pt x="187325" y="166158"/>
                      <a:pt x="86783" y="133350"/>
                      <a:pt x="50800" y="158750"/>
                    </a:cubicBezTo>
                    <a:cubicBezTo>
                      <a:pt x="14817" y="184150"/>
                      <a:pt x="7408" y="238125"/>
                      <a:pt x="0" y="292100"/>
                    </a:cubicBezTo>
                  </a:path>
                </a:pathLst>
              </a:custGeom>
              <a:noFill/>
              <a:ln>
                <a:solidFill>
                  <a:schemeClr val="accent3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05B6BE2C-B61A-4EEB-ABFD-BD526E0E6A9F}"/>
                  </a:ext>
                </a:extLst>
              </p:cNvPr>
              <p:cNvSpPr/>
              <p:nvPr/>
            </p:nvSpPr>
            <p:spPr>
              <a:xfrm>
                <a:off x="6324522" y="4798092"/>
                <a:ext cx="234010" cy="292100"/>
              </a:xfrm>
              <a:custGeom>
                <a:avLst/>
                <a:gdLst>
                  <a:gd name="connsiteX0" fmla="*/ 222250 w 234010"/>
                  <a:gd name="connsiteY0" fmla="*/ 0 h 292100"/>
                  <a:gd name="connsiteX1" fmla="*/ 215900 w 234010"/>
                  <a:gd name="connsiteY1" fmla="*/ 139700 h 292100"/>
                  <a:gd name="connsiteX2" fmla="*/ 50800 w 234010"/>
                  <a:gd name="connsiteY2" fmla="*/ 158750 h 292100"/>
                  <a:gd name="connsiteX3" fmla="*/ 0 w 234010"/>
                  <a:gd name="connsiteY3" fmla="*/ 292100 h 292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4010" h="292100">
                    <a:moveTo>
                      <a:pt x="222250" y="0"/>
                    </a:moveTo>
                    <a:cubicBezTo>
                      <a:pt x="233362" y="56621"/>
                      <a:pt x="244475" y="113242"/>
                      <a:pt x="215900" y="139700"/>
                    </a:cubicBezTo>
                    <a:cubicBezTo>
                      <a:pt x="187325" y="166158"/>
                      <a:pt x="86783" y="133350"/>
                      <a:pt x="50800" y="158750"/>
                    </a:cubicBezTo>
                    <a:cubicBezTo>
                      <a:pt x="14817" y="184150"/>
                      <a:pt x="7408" y="238125"/>
                      <a:pt x="0" y="292100"/>
                    </a:cubicBezTo>
                  </a:path>
                </a:pathLst>
              </a:custGeom>
              <a:noFill/>
              <a:ln>
                <a:solidFill>
                  <a:schemeClr val="accent3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F0B62E50-D613-489D-B5CF-F52DD89ACC66}"/>
                  </a:ext>
                </a:extLst>
              </p:cNvPr>
              <p:cNvSpPr/>
              <p:nvPr/>
            </p:nvSpPr>
            <p:spPr>
              <a:xfrm>
                <a:off x="2428576" y="1529299"/>
                <a:ext cx="234009" cy="292100"/>
              </a:xfrm>
              <a:custGeom>
                <a:avLst/>
                <a:gdLst>
                  <a:gd name="connsiteX0" fmla="*/ 222250 w 234010"/>
                  <a:gd name="connsiteY0" fmla="*/ 0 h 292100"/>
                  <a:gd name="connsiteX1" fmla="*/ 215900 w 234010"/>
                  <a:gd name="connsiteY1" fmla="*/ 139700 h 292100"/>
                  <a:gd name="connsiteX2" fmla="*/ 50800 w 234010"/>
                  <a:gd name="connsiteY2" fmla="*/ 158750 h 292100"/>
                  <a:gd name="connsiteX3" fmla="*/ 0 w 234010"/>
                  <a:gd name="connsiteY3" fmla="*/ 292100 h 292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4010" h="292100">
                    <a:moveTo>
                      <a:pt x="222250" y="0"/>
                    </a:moveTo>
                    <a:cubicBezTo>
                      <a:pt x="233362" y="56621"/>
                      <a:pt x="244475" y="113242"/>
                      <a:pt x="215900" y="139700"/>
                    </a:cubicBezTo>
                    <a:cubicBezTo>
                      <a:pt x="187325" y="166158"/>
                      <a:pt x="86783" y="133350"/>
                      <a:pt x="50800" y="158750"/>
                    </a:cubicBezTo>
                    <a:cubicBezTo>
                      <a:pt x="14817" y="184150"/>
                      <a:pt x="7408" y="238125"/>
                      <a:pt x="0" y="292100"/>
                    </a:cubicBezTo>
                  </a:path>
                </a:pathLst>
              </a:custGeom>
              <a:noFill/>
              <a:ln>
                <a:solidFill>
                  <a:schemeClr val="accent3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E0FDD26C-9420-47C4-9F45-6B6022A3340E}"/>
                  </a:ext>
                </a:extLst>
              </p:cNvPr>
              <p:cNvSpPr/>
              <p:nvPr/>
            </p:nvSpPr>
            <p:spPr>
              <a:xfrm>
                <a:off x="2363251" y="1477230"/>
                <a:ext cx="234009" cy="292100"/>
              </a:xfrm>
              <a:custGeom>
                <a:avLst/>
                <a:gdLst>
                  <a:gd name="connsiteX0" fmla="*/ 222250 w 234010"/>
                  <a:gd name="connsiteY0" fmla="*/ 0 h 292100"/>
                  <a:gd name="connsiteX1" fmla="*/ 215900 w 234010"/>
                  <a:gd name="connsiteY1" fmla="*/ 139700 h 292100"/>
                  <a:gd name="connsiteX2" fmla="*/ 50800 w 234010"/>
                  <a:gd name="connsiteY2" fmla="*/ 158750 h 292100"/>
                  <a:gd name="connsiteX3" fmla="*/ 0 w 234010"/>
                  <a:gd name="connsiteY3" fmla="*/ 292100 h 292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4010" h="292100">
                    <a:moveTo>
                      <a:pt x="222250" y="0"/>
                    </a:moveTo>
                    <a:cubicBezTo>
                      <a:pt x="233362" y="56621"/>
                      <a:pt x="244475" y="113242"/>
                      <a:pt x="215900" y="139700"/>
                    </a:cubicBezTo>
                    <a:cubicBezTo>
                      <a:pt x="187325" y="166158"/>
                      <a:pt x="86783" y="133350"/>
                      <a:pt x="50800" y="158750"/>
                    </a:cubicBezTo>
                    <a:cubicBezTo>
                      <a:pt x="14817" y="184150"/>
                      <a:pt x="7408" y="238125"/>
                      <a:pt x="0" y="292100"/>
                    </a:cubicBezTo>
                  </a:path>
                </a:pathLst>
              </a:custGeom>
              <a:noFill/>
              <a:ln>
                <a:solidFill>
                  <a:schemeClr val="accent3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endParaRPr>
              </a:p>
            </p:txBody>
          </p:sp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5486FE23-F90F-47DC-B71F-7F39E18E40F3}"/>
                  </a:ext>
                </a:extLst>
              </p:cNvPr>
              <p:cNvSpPr txBox="1"/>
              <p:nvPr/>
            </p:nvSpPr>
            <p:spPr bwMode="auto">
              <a:xfrm>
                <a:off x="5617192" y="5257116"/>
                <a:ext cx="1118346" cy="337914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3577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/>
                  </a:buClr>
                  <a:buSzPct val="85000"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rPr>
                  <a:t>Ogbotobo</a:t>
                </a:r>
                <a:endPara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endParaRPr>
              </a:p>
              <a:p>
                <a:pPr marL="0" marR="0" lvl="0" indent="0" algn="ctr" defTabSz="3577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/>
                  </a:buClr>
                  <a:buSzPct val="85000"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rPr>
                  <a:t> FS</a:t>
                </a:r>
              </a:p>
            </p:txBody>
          </p:sp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E3D804D4-B163-47D1-906F-8C7B0843D73F}"/>
                  </a:ext>
                </a:extLst>
              </p:cNvPr>
              <p:cNvSpPr/>
              <p:nvPr/>
            </p:nvSpPr>
            <p:spPr>
              <a:xfrm>
                <a:off x="6510338" y="5036344"/>
                <a:ext cx="92868" cy="61912"/>
              </a:xfrm>
              <a:custGeom>
                <a:avLst/>
                <a:gdLst>
                  <a:gd name="connsiteX0" fmla="*/ 0 w 92868"/>
                  <a:gd name="connsiteY0" fmla="*/ 61912 h 61912"/>
                  <a:gd name="connsiteX1" fmla="*/ 33337 w 92868"/>
                  <a:gd name="connsiteY1" fmla="*/ 23812 h 61912"/>
                  <a:gd name="connsiteX2" fmla="*/ 92868 w 92868"/>
                  <a:gd name="connsiteY2" fmla="*/ 0 h 61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868" h="61912">
                    <a:moveTo>
                      <a:pt x="0" y="61912"/>
                    </a:moveTo>
                    <a:cubicBezTo>
                      <a:pt x="8929" y="48021"/>
                      <a:pt x="17859" y="34131"/>
                      <a:pt x="33337" y="23812"/>
                    </a:cubicBezTo>
                    <a:cubicBezTo>
                      <a:pt x="48815" y="13493"/>
                      <a:pt x="70841" y="6746"/>
                      <a:pt x="92868" y="0"/>
                    </a:cubicBezTo>
                  </a:path>
                </a:pathLst>
              </a:custGeom>
              <a:noFill/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endParaRPr>
              </a:p>
            </p:txBody>
          </p:sp>
          <p:sp>
            <p:nvSpPr>
              <p:cNvPr id="104" name="Oval 103">
                <a:extLst>
                  <a:ext uri="{FF2B5EF4-FFF2-40B4-BE49-F238E27FC236}">
                    <a16:creationId xmlns:a16="http://schemas.microsoft.com/office/drawing/2014/main" id="{6AA42303-6FE8-4681-A15A-7C63B04866BB}"/>
                  </a:ext>
                </a:extLst>
              </p:cNvPr>
              <p:cNvSpPr/>
              <p:nvPr/>
            </p:nvSpPr>
            <p:spPr>
              <a:xfrm>
                <a:off x="6301541" y="5086275"/>
                <a:ext cx="308809" cy="18658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endParaRPr>
              </a:p>
            </p:txBody>
          </p:sp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id="{A6644793-2E04-4FB5-A914-06F81133B880}"/>
                  </a:ext>
                </a:extLst>
              </p:cNvPr>
              <p:cNvSpPr/>
              <p:nvPr/>
            </p:nvSpPr>
            <p:spPr>
              <a:xfrm>
                <a:off x="7650309" y="6352724"/>
                <a:ext cx="308809" cy="18658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endParaRPr>
              </a:p>
            </p:txBody>
          </p:sp>
          <p:sp>
            <p:nvSpPr>
              <p:cNvPr id="106" name="TextBox 105">
                <a:extLst>
                  <a:ext uri="{FF2B5EF4-FFF2-40B4-BE49-F238E27FC236}">
                    <a16:creationId xmlns:a16="http://schemas.microsoft.com/office/drawing/2014/main" id="{C4E8A4CA-2B0F-4F95-BCA3-CFBBAB7FE4AE}"/>
                  </a:ext>
                </a:extLst>
              </p:cNvPr>
              <p:cNvSpPr txBox="1"/>
              <p:nvPr/>
            </p:nvSpPr>
            <p:spPr bwMode="auto">
              <a:xfrm>
                <a:off x="7373816" y="6539312"/>
                <a:ext cx="719935" cy="153888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35770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/>
                  </a:buClr>
                  <a:buSzPct val="85000"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rPr>
                  <a:t>Tunu</a:t>
                </a: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rPr>
                  <a:t> FS</a:t>
                </a:r>
              </a:p>
            </p:txBody>
          </p:sp>
          <p:grpSp>
            <p:nvGrpSpPr>
              <p:cNvPr id="107" name="Group 106">
                <a:extLst>
                  <a:ext uri="{FF2B5EF4-FFF2-40B4-BE49-F238E27FC236}">
                    <a16:creationId xmlns:a16="http://schemas.microsoft.com/office/drawing/2014/main" id="{059C3805-ADB6-468C-9955-F6EF3AB6F907}"/>
                  </a:ext>
                </a:extLst>
              </p:cNvPr>
              <p:cNvGrpSpPr/>
              <p:nvPr/>
            </p:nvGrpSpPr>
            <p:grpSpPr>
              <a:xfrm>
                <a:off x="3516781" y="3497638"/>
                <a:ext cx="80414" cy="101888"/>
                <a:chOff x="3247800" y="3187568"/>
                <a:chExt cx="80414" cy="101888"/>
              </a:xfrm>
            </p:grpSpPr>
            <p:grpSp>
              <p:nvGrpSpPr>
                <p:cNvPr id="108" name="Group 107">
                  <a:extLst>
                    <a:ext uri="{FF2B5EF4-FFF2-40B4-BE49-F238E27FC236}">
                      <a16:creationId xmlns:a16="http://schemas.microsoft.com/office/drawing/2014/main" id="{734EB2D9-30F6-4452-BDCB-C6FF4369104B}"/>
                    </a:ext>
                  </a:extLst>
                </p:cNvPr>
                <p:cNvGrpSpPr/>
                <p:nvPr/>
              </p:nvGrpSpPr>
              <p:grpSpPr>
                <a:xfrm rot="3600000">
                  <a:off x="3237063" y="3198305"/>
                  <a:ext cx="101888" cy="80414"/>
                  <a:chOff x="5706399" y="1962229"/>
                  <a:chExt cx="80615" cy="47270"/>
                </a:xfrm>
                <a:solidFill>
                  <a:schemeClr val="bg1"/>
                </a:solidFill>
              </p:grpSpPr>
              <p:sp>
                <p:nvSpPr>
                  <p:cNvPr id="110" name="Isosceles Triangle 109">
                    <a:extLst>
                      <a:ext uri="{FF2B5EF4-FFF2-40B4-BE49-F238E27FC236}">
                        <a16:creationId xmlns:a16="http://schemas.microsoft.com/office/drawing/2014/main" id="{8473F205-F49F-4F97-A5E0-3EF1505CC9C7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5706399" y="1962229"/>
                    <a:ext cx="45719" cy="45719"/>
                  </a:xfrm>
                  <a:prstGeom prst="triangle">
                    <a:avLst/>
                  </a:prstGeom>
                  <a:grpFill/>
                  <a:ln w="3175">
                    <a:solidFill>
                      <a:srgbClr val="0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1" name="Isosceles Triangle 110">
                    <a:extLst>
                      <a:ext uri="{FF2B5EF4-FFF2-40B4-BE49-F238E27FC236}">
                        <a16:creationId xmlns:a16="http://schemas.microsoft.com/office/drawing/2014/main" id="{88535FC9-F54D-4E4A-AAE6-2ED5715C18FF}"/>
                      </a:ext>
                    </a:extLst>
                  </p:cNvPr>
                  <p:cNvSpPr/>
                  <p:nvPr/>
                </p:nvSpPr>
                <p:spPr>
                  <a:xfrm rot="16200000">
                    <a:off x="5741295" y="1963780"/>
                    <a:ext cx="45719" cy="45719"/>
                  </a:xfrm>
                  <a:prstGeom prst="triangle">
                    <a:avLst/>
                  </a:prstGeom>
                  <a:grpFill/>
                  <a:ln w="3175">
                    <a:solidFill>
                      <a:srgbClr val="0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121917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Futura Medium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09" name="Oval 108">
                  <a:extLst>
                    <a:ext uri="{FF2B5EF4-FFF2-40B4-BE49-F238E27FC236}">
                      <a16:creationId xmlns:a16="http://schemas.microsoft.com/office/drawing/2014/main" id="{470BE930-6277-4B78-A1C7-9E3FCF7CC154}"/>
                    </a:ext>
                  </a:extLst>
                </p:cNvPr>
                <p:cNvSpPr/>
                <p:nvPr/>
              </p:nvSpPr>
              <p:spPr>
                <a:xfrm>
                  <a:off x="3264866" y="3217501"/>
                  <a:ext cx="45720" cy="45718"/>
                </a:xfrm>
                <a:prstGeom prst="ellipse">
                  <a:avLst/>
                </a:prstGeom>
                <a:solidFill>
                  <a:schemeClr val="bg1"/>
                </a:solidFill>
                <a:ln w="3175">
                  <a:solidFill>
                    <a:srgbClr val="0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12" name="TextBox 111">
                <a:extLst>
                  <a:ext uri="{FF2B5EF4-FFF2-40B4-BE49-F238E27FC236}">
                    <a16:creationId xmlns:a16="http://schemas.microsoft.com/office/drawing/2014/main" id="{B7046065-B4CD-4AEF-8A80-6516CC9D668C}"/>
                  </a:ext>
                </a:extLst>
              </p:cNvPr>
              <p:cNvSpPr txBox="1"/>
              <p:nvPr/>
            </p:nvSpPr>
            <p:spPr bwMode="auto">
              <a:xfrm>
                <a:off x="3726100" y="3265563"/>
                <a:ext cx="826423" cy="191906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357708" rtl="0" eaLnBrk="1" fontAlgn="auto" latinLnBrk="0" hangingPunct="1">
                  <a:lnSpc>
                    <a:spcPct val="14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/>
                  </a:buClr>
                  <a:buSzPct val="85000"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rPr>
                  <a:t>Agge</a:t>
                </a: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rPr>
                  <a:t> BV</a:t>
                </a:r>
              </a:p>
            </p:txBody>
          </p:sp>
          <p:sp>
            <p:nvSpPr>
              <p:cNvPr id="113" name="Oval 112">
                <a:extLst>
                  <a:ext uri="{FF2B5EF4-FFF2-40B4-BE49-F238E27FC236}">
                    <a16:creationId xmlns:a16="http://schemas.microsoft.com/office/drawing/2014/main" id="{418CA2DD-E6D8-41D3-94CF-CD2104DEA7AE}"/>
                  </a:ext>
                </a:extLst>
              </p:cNvPr>
              <p:cNvSpPr/>
              <p:nvPr/>
            </p:nvSpPr>
            <p:spPr>
              <a:xfrm>
                <a:off x="8144161" y="5932780"/>
                <a:ext cx="308808" cy="283836"/>
              </a:xfrm>
              <a:prstGeom prst="ellipse">
                <a:avLst/>
              </a:prstGeom>
              <a:solidFill>
                <a:srgbClr val="A275A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endParaRPr>
              </a:p>
            </p:txBody>
          </p:sp>
          <p:sp>
            <p:nvSpPr>
              <p:cNvPr id="114" name="Freeform: Shape 113">
                <a:extLst>
                  <a:ext uri="{FF2B5EF4-FFF2-40B4-BE49-F238E27FC236}">
                    <a16:creationId xmlns:a16="http://schemas.microsoft.com/office/drawing/2014/main" id="{4F8AA667-00B2-43F0-A375-2502BC0B6EA6}"/>
                  </a:ext>
                </a:extLst>
              </p:cNvPr>
              <p:cNvSpPr/>
              <p:nvPr/>
            </p:nvSpPr>
            <p:spPr>
              <a:xfrm>
                <a:off x="7938052" y="5579165"/>
                <a:ext cx="0" cy="0"/>
              </a:xfrm>
              <a:custGeom>
                <a:avLst/>
                <a:gdLst>
                  <a:gd name="connsiteX0" fmla="*/ 0 w 0"/>
                  <a:gd name="connsiteY0" fmla="*/ 0 h 0"/>
                  <a:gd name="connsiteX1" fmla="*/ 0 w 0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endParaRPr>
              </a:p>
            </p:txBody>
          </p:sp>
          <p:sp>
            <p:nvSpPr>
              <p:cNvPr id="115" name="Freeform: Shape 114">
                <a:extLst>
                  <a:ext uri="{FF2B5EF4-FFF2-40B4-BE49-F238E27FC236}">
                    <a16:creationId xmlns:a16="http://schemas.microsoft.com/office/drawing/2014/main" id="{A299C432-69AB-4878-AE52-1C9E2635758D}"/>
                  </a:ext>
                </a:extLst>
              </p:cNvPr>
              <p:cNvSpPr/>
              <p:nvPr/>
            </p:nvSpPr>
            <p:spPr>
              <a:xfrm>
                <a:off x="7964557" y="5711687"/>
                <a:ext cx="437321" cy="318052"/>
              </a:xfrm>
              <a:custGeom>
                <a:avLst/>
                <a:gdLst>
                  <a:gd name="connsiteX0" fmla="*/ 437321 w 437321"/>
                  <a:gd name="connsiteY0" fmla="*/ 318052 h 318052"/>
                  <a:gd name="connsiteX1" fmla="*/ 371060 w 437321"/>
                  <a:gd name="connsiteY1" fmla="*/ 251791 h 318052"/>
                  <a:gd name="connsiteX2" fmla="*/ 318052 w 437321"/>
                  <a:gd name="connsiteY2" fmla="*/ 185530 h 318052"/>
                  <a:gd name="connsiteX3" fmla="*/ 265043 w 437321"/>
                  <a:gd name="connsiteY3" fmla="*/ 132522 h 318052"/>
                  <a:gd name="connsiteX4" fmla="*/ 238539 w 437321"/>
                  <a:gd name="connsiteY4" fmla="*/ 106017 h 318052"/>
                  <a:gd name="connsiteX5" fmla="*/ 145773 w 437321"/>
                  <a:gd name="connsiteY5" fmla="*/ 92765 h 318052"/>
                  <a:gd name="connsiteX6" fmla="*/ 39756 w 437321"/>
                  <a:gd name="connsiteY6" fmla="*/ 66261 h 318052"/>
                  <a:gd name="connsiteX7" fmla="*/ 13252 w 437321"/>
                  <a:gd name="connsiteY7" fmla="*/ 39756 h 318052"/>
                  <a:gd name="connsiteX8" fmla="*/ 0 w 437321"/>
                  <a:gd name="connsiteY8" fmla="*/ 0 h 318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37321" h="318052">
                    <a:moveTo>
                      <a:pt x="437321" y="318052"/>
                    </a:moveTo>
                    <a:cubicBezTo>
                      <a:pt x="415234" y="295965"/>
                      <a:pt x="391629" y="275298"/>
                      <a:pt x="371060" y="251791"/>
                    </a:cubicBezTo>
                    <a:cubicBezTo>
                      <a:pt x="254016" y="118026"/>
                      <a:pt x="421408" y="288890"/>
                      <a:pt x="318052" y="185530"/>
                    </a:cubicBezTo>
                    <a:cubicBezTo>
                      <a:pt x="294492" y="114851"/>
                      <a:pt x="323942" y="167862"/>
                      <a:pt x="265043" y="132522"/>
                    </a:cubicBezTo>
                    <a:cubicBezTo>
                      <a:pt x="254329" y="126094"/>
                      <a:pt x="250392" y="109968"/>
                      <a:pt x="238539" y="106017"/>
                    </a:cubicBezTo>
                    <a:cubicBezTo>
                      <a:pt x="208906" y="96139"/>
                      <a:pt x="176584" y="97900"/>
                      <a:pt x="145773" y="92765"/>
                    </a:cubicBezTo>
                    <a:cubicBezTo>
                      <a:pt x="81808" y="82104"/>
                      <a:pt x="90962" y="83329"/>
                      <a:pt x="39756" y="66261"/>
                    </a:cubicBezTo>
                    <a:cubicBezTo>
                      <a:pt x="30921" y="57426"/>
                      <a:pt x="19680" y="50470"/>
                      <a:pt x="13252" y="39756"/>
                    </a:cubicBezTo>
                    <a:cubicBezTo>
                      <a:pt x="6065" y="27778"/>
                      <a:pt x="0" y="0"/>
                      <a:pt x="0" y="0"/>
                    </a:cubicBezTo>
                  </a:path>
                </a:pathLst>
              </a:cu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endParaRPr>
              </a:p>
            </p:txBody>
          </p:sp>
          <p:sp>
            <p:nvSpPr>
              <p:cNvPr id="116" name="TextBox 115">
                <a:extLst>
                  <a:ext uri="{FF2B5EF4-FFF2-40B4-BE49-F238E27FC236}">
                    <a16:creationId xmlns:a16="http://schemas.microsoft.com/office/drawing/2014/main" id="{9ECEAEB9-EB8A-4D68-9B70-14D34EF9D848}"/>
                  </a:ext>
                </a:extLst>
              </p:cNvPr>
              <p:cNvSpPr txBox="1"/>
              <p:nvPr/>
            </p:nvSpPr>
            <p:spPr bwMode="auto">
              <a:xfrm>
                <a:off x="8136292" y="6168763"/>
                <a:ext cx="1030805" cy="450060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357708" rtl="0" eaLnBrk="1" fontAlgn="auto" latinLnBrk="0" hangingPunct="1">
                  <a:lnSpc>
                    <a:spcPct val="14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/>
                  </a:buClr>
                  <a:buSzPct val="85000"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rPr>
                  <a:t>Excel </a:t>
                </a:r>
              </a:p>
              <a:p>
                <a:pPr marL="0" marR="0" lvl="0" indent="0" algn="l" defTabSz="357708" rtl="0" eaLnBrk="1" fontAlgn="auto" latinLnBrk="0" hangingPunct="1">
                  <a:lnSpc>
                    <a:spcPct val="14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/>
                  </a:buClr>
                  <a:buSzPct val="85000"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rPr>
                  <a:t>(3</a:t>
                </a:r>
                <a:r>
                  <a:rPr kumimoji="0" lang="en-GB" sz="1100" b="1" i="0" u="none" strike="noStrike" kern="1200" cap="none" spc="0" normalizeH="0" baseline="3000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rPr>
                  <a:t>rd</a:t>
                </a: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rPr>
                  <a:t> Party)</a:t>
                </a:r>
              </a:p>
            </p:txBody>
          </p:sp>
          <p:sp>
            <p:nvSpPr>
              <p:cNvPr id="117" name="TextBox 116">
                <a:extLst>
                  <a:ext uri="{FF2B5EF4-FFF2-40B4-BE49-F238E27FC236}">
                    <a16:creationId xmlns:a16="http://schemas.microsoft.com/office/drawing/2014/main" id="{8C1B57D2-544E-4627-906A-2934A417C172}"/>
                  </a:ext>
                </a:extLst>
              </p:cNvPr>
              <p:cNvSpPr txBox="1"/>
              <p:nvPr/>
            </p:nvSpPr>
            <p:spPr bwMode="auto">
              <a:xfrm>
                <a:off x="7723589" y="5623558"/>
                <a:ext cx="292569" cy="127984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357708" rtl="0" eaLnBrk="1" fontAlgn="auto" latinLnBrk="0" hangingPunct="1">
                  <a:lnSpc>
                    <a:spcPct val="14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/>
                  </a:buClr>
                  <a:buSzPct val="85000"/>
                  <a:buFontTx/>
                  <a:buNone/>
                  <a:tabLst/>
                  <a:defRPr/>
                </a:pPr>
                <a:r>
                  <a:rPr kumimoji="0" lang="en-US" sz="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rPr>
                  <a:t>KM 0</a:t>
                </a:r>
              </a:p>
            </p:txBody>
          </p:sp>
          <p:sp>
            <p:nvSpPr>
              <p:cNvPr id="118" name="TextBox 117">
                <a:extLst>
                  <a:ext uri="{FF2B5EF4-FFF2-40B4-BE49-F238E27FC236}">
                    <a16:creationId xmlns:a16="http://schemas.microsoft.com/office/drawing/2014/main" id="{A5278800-FFC4-4387-9850-0E3927191380}"/>
                  </a:ext>
                </a:extLst>
              </p:cNvPr>
              <p:cNvSpPr txBox="1"/>
              <p:nvPr/>
            </p:nvSpPr>
            <p:spPr bwMode="auto">
              <a:xfrm>
                <a:off x="8912946" y="5118077"/>
                <a:ext cx="975018" cy="148894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357708" rtl="0" eaLnBrk="1" fontAlgn="auto" latinLnBrk="0" hangingPunct="1">
                  <a:lnSpc>
                    <a:spcPct val="14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/>
                  </a:buClr>
                  <a:buSzPct val="85000"/>
                  <a:buFontTx/>
                  <a:buNone/>
                  <a:tabLst/>
                  <a:defRPr/>
                </a:pPr>
                <a:r>
                  <a:rPr kumimoji="0" 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rPr>
                  <a:t>12” x 11.7 Km</a:t>
                </a:r>
              </a:p>
            </p:txBody>
          </p:sp>
          <p:sp>
            <p:nvSpPr>
              <p:cNvPr id="119" name="TextBox 118">
                <a:extLst>
                  <a:ext uri="{FF2B5EF4-FFF2-40B4-BE49-F238E27FC236}">
                    <a16:creationId xmlns:a16="http://schemas.microsoft.com/office/drawing/2014/main" id="{ED3FA48A-D2E3-4E79-B524-38397F6E317C}"/>
                  </a:ext>
                </a:extLst>
              </p:cNvPr>
              <p:cNvSpPr txBox="1"/>
              <p:nvPr/>
            </p:nvSpPr>
            <p:spPr bwMode="auto">
              <a:xfrm>
                <a:off x="7090300" y="5995306"/>
                <a:ext cx="830471" cy="148894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357708" rtl="0" eaLnBrk="1" fontAlgn="auto" latinLnBrk="0" hangingPunct="1">
                  <a:lnSpc>
                    <a:spcPct val="14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/>
                  </a:buClr>
                  <a:buSzPct val="85000"/>
                  <a:buFontTx/>
                  <a:buNone/>
                  <a:tabLst/>
                  <a:defRPr/>
                </a:pPr>
                <a:r>
                  <a:rPr kumimoji="0" 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rPr>
                  <a:t>16” x 8.5km</a:t>
                </a:r>
              </a:p>
            </p:txBody>
          </p:sp>
          <p:sp>
            <p:nvSpPr>
              <p:cNvPr id="120" name="TextBox 119">
                <a:extLst>
                  <a:ext uri="{FF2B5EF4-FFF2-40B4-BE49-F238E27FC236}">
                    <a16:creationId xmlns:a16="http://schemas.microsoft.com/office/drawing/2014/main" id="{AD24DCE4-614D-4C46-9014-80743284FB5D}"/>
                  </a:ext>
                </a:extLst>
              </p:cNvPr>
              <p:cNvSpPr txBox="1"/>
              <p:nvPr/>
            </p:nvSpPr>
            <p:spPr bwMode="auto">
              <a:xfrm>
                <a:off x="9167097" y="5484274"/>
                <a:ext cx="830305" cy="148894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357708" rtl="0" eaLnBrk="1" fontAlgn="auto" latinLnBrk="0" hangingPunct="1">
                  <a:lnSpc>
                    <a:spcPct val="14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/>
                  </a:buClr>
                  <a:buSzPct val="85000"/>
                  <a:buFontTx/>
                  <a:buNone/>
                  <a:tabLst/>
                  <a:defRPr/>
                </a:pPr>
                <a:r>
                  <a:rPr kumimoji="0" 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Futura Medium"/>
                    <a:ea typeface="+mn-ea"/>
                    <a:cs typeface="+mn-cs"/>
                  </a:rPr>
                  <a:t>20” x 19 Km</a:t>
                </a: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628D5E86-B7BB-4A22-866D-762DAA418B6E}"/>
                  </a:ext>
                </a:extLst>
              </p:cNvPr>
              <p:cNvSpPr/>
              <p:nvPr/>
            </p:nvSpPr>
            <p:spPr>
              <a:xfrm>
                <a:off x="4738825" y="4149434"/>
                <a:ext cx="234010" cy="292100"/>
              </a:xfrm>
              <a:custGeom>
                <a:avLst/>
                <a:gdLst>
                  <a:gd name="connsiteX0" fmla="*/ 222250 w 234010"/>
                  <a:gd name="connsiteY0" fmla="*/ 0 h 292100"/>
                  <a:gd name="connsiteX1" fmla="*/ 215900 w 234010"/>
                  <a:gd name="connsiteY1" fmla="*/ 139700 h 292100"/>
                  <a:gd name="connsiteX2" fmla="*/ 50800 w 234010"/>
                  <a:gd name="connsiteY2" fmla="*/ 158750 h 292100"/>
                  <a:gd name="connsiteX3" fmla="*/ 0 w 234010"/>
                  <a:gd name="connsiteY3" fmla="*/ 292100 h 292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4010" h="292100">
                    <a:moveTo>
                      <a:pt x="222250" y="0"/>
                    </a:moveTo>
                    <a:cubicBezTo>
                      <a:pt x="233362" y="56621"/>
                      <a:pt x="244475" y="113242"/>
                      <a:pt x="215900" y="139700"/>
                    </a:cubicBezTo>
                    <a:cubicBezTo>
                      <a:pt x="187325" y="166158"/>
                      <a:pt x="86783" y="133350"/>
                      <a:pt x="50800" y="158750"/>
                    </a:cubicBezTo>
                    <a:cubicBezTo>
                      <a:pt x="14817" y="184150"/>
                      <a:pt x="7408" y="238125"/>
                      <a:pt x="0" y="292100"/>
                    </a:cubicBezTo>
                  </a:path>
                </a:pathLst>
              </a:custGeom>
              <a:noFill/>
              <a:ln>
                <a:solidFill>
                  <a:schemeClr val="accent3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3682AB86-8EB5-4DA8-B9D3-00C12EECC626}"/>
                  </a:ext>
                </a:extLst>
              </p:cNvPr>
              <p:cNvSpPr/>
              <p:nvPr/>
            </p:nvSpPr>
            <p:spPr>
              <a:xfrm>
                <a:off x="4666877" y="4088384"/>
                <a:ext cx="234009" cy="292100"/>
              </a:xfrm>
              <a:custGeom>
                <a:avLst/>
                <a:gdLst>
                  <a:gd name="connsiteX0" fmla="*/ 222250 w 234010"/>
                  <a:gd name="connsiteY0" fmla="*/ 0 h 292100"/>
                  <a:gd name="connsiteX1" fmla="*/ 215900 w 234010"/>
                  <a:gd name="connsiteY1" fmla="*/ 139700 h 292100"/>
                  <a:gd name="connsiteX2" fmla="*/ 50800 w 234010"/>
                  <a:gd name="connsiteY2" fmla="*/ 158750 h 292100"/>
                  <a:gd name="connsiteX3" fmla="*/ 0 w 234010"/>
                  <a:gd name="connsiteY3" fmla="*/ 292100 h 292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4010" h="292100">
                    <a:moveTo>
                      <a:pt x="222250" y="0"/>
                    </a:moveTo>
                    <a:cubicBezTo>
                      <a:pt x="233362" y="56621"/>
                      <a:pt x="244475" y="113242"/>
                      <a:pt x="215900" y="139700"/>
                    </a:cubicBezTo>
                    <a:cubicBezTo>
                      <a:pt x="187325" y="166158"/>
                      <a:pt x="86783" y="133350"/>
                      <a:pt x="50800" y="158750"/>
                    </a:cubicBezTo>
                    <a:cubicBezTo>
                      <a:pt x="14817" y="184150"/>
                      <a:pt x="7408" y="238125"/>
                      <a:pt x="0" y="292100"/>
                    </a:cubicBezTo>
                  </a:path>
                </a:pathLst>
              </a:custGeom>
              <a:noFill/>
              <a:ln>
                <a:solidFill>
                  <a:schemeClr val="accent3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endParaRPr>
              </a:p>
            </p:txBody>
          </p:sp>
        </p:grpSp>
        <p:pic>
          <p:nvPicPr>
            <p:cNvPr id="74" name="Picture 73">
              <a:extLst>
                <a:ext uri="{FF2B5EF4-FFF2-40B4-BE49-F238E27FC236}">
                  <a16:creationId xmlns:a16="http://schemas.microsoft.com/office/drawing/2014/main" id="{D98A3C56-F56F-45A9-9061-81FEDE8CBCC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5000" b="91667" l="1961" r="91176">
                          <a14:foregroundMark x1="67647" y1="5833" x2="67647" y2="5833"/>
                          <a14:foregroundMark x1="29412" y1="91667" x2="29412" y2="91667"/>
                          <a14:foregroundMark x1="1961" y1="88333" x2="1961" y2="88333"/>
                          <a14:foregroundMark x1="91176" y1="41667" x2="91176" y2="41667"/>
                          <a14:foregroundMark x1="56863" y1="50833" x2="56863" y2="50833"/>
                          <a14:foregroundMark x1="62745" y1="44167" x2="62745" y2="44167"/>
                          <a14:foregroundMark x1="68627" y1="40833" x2="68627" y2="40833"/>
                          <a14:foregroundMark x1="72549" y1="36667" x2="72549" y2="36667"/>
                          <a14:foregroundMark x1="26471" y1="65000" x2="28431" y2="64167"/>
                          <a14:foregroundMark x1="34314" y1="62500" x2="34314" y2="62500"/>
                        </a14:backgroundRemoval>
                      </a14:imgEffect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912624" y="3475657"/>
              <a:ext cx="163781" cy="192683"/>
            </a:xfrm>
            <a:prstGeom prst="rect">
              <a:avLst/>
            </a:prstGeom>
          </p:spPr>
        </p:pic>
        <p:pic>
          <p:nvPicPr>
            <p:cNvPr id="77" name="Picture 76">
              <a:extLst>
                <a:ext uri="{FF2B5EF4-FFF2-40B4-BE49-F238E27FC236}">
                  <a16:creationId xmlns:a16="http://schemas.microsoft.com/office/drawing/2014/main" id="{8B8A652D-9485-455E-9D88-1B59E5E848A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5000" b="91667" l="1961" r="91176">
                          <a14:foregroundMark x1="67647" y1="5833" x2="67647" y2="5833"/>
                          <a14:foregroundMark x1="29412" y1="91667" x2="29412" y2="91667"/>
                          <a14:foregroundMark x1="1961" y1="88333" x2="1961" y2="88333"/>
                          <a14:foregroundMark x1="91176" y1="41667" x2="91176" y2="41667"/>
                          <a14:foregroundMark x1="56863" y1="50833" x2="56863" y2="50833"/>
                          <a14:foregroundMark x1="62745" y1="44167" x2="62745" y2="44167"/>
                          <a14:foregroundMark x1="68627" y1="40833" x2="68627" y2="40833"/>
                          <a14:foregroundMark x1="72549" y1="36667" x2="72549" y2="36667"/>
                          <a14:foregroundMark x1="26471" y1="65000" x2="28431" y2="64167"/>
                          <a14:foregroundMark x1="34314" y1="62500" x2="34314" y2="62500"/>
                        </a14:backgroundRemoval>
                      </a14:imgEffect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4666504" y="5153197"/>
              <a:ext cx="163781" cy="192683"/>
            </a:xfrm>
            <a:prstGeom prst="rect">
              <a:avLst/>
            </a:prstGeom>
          </p:spPr>
        </p:pic>
        <p:pic>
          <p:nvPicPr>
            <p:cNvPr id="78" name="Picture 77">
              <a:extLst>
                <a:ext uri="{FF2B5EF4-FFF2-40B4-BE49-F238E27FC236}">
                  <a16:creationId xmlns:a16="http://schemas.microsoft.com/office/drawing/2014/main" id="{FCDC95C4-5C4C-4D4B-B1EB-23346582AA7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10000" b="90000" l="10000" r="90000"/>
                      </a14:imgEffect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6412" y="5888089"/>
              <a:ext cx="150614" cy="210743"/>
            </a:xfrm>
            <a:prstGeom prst="rect">
              <a:avLst/>
            </a:prstGeom>
          </p:spPr>
        </p:pic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6F61BD3C-E84A-44B1-A678-9EBBA2675204}"/>
                </a:ext>
              </a:extLst>
            </p:cNvPr>
            <p:cNvSpPr/>
            <p:nvPr/>
          </p:nvSpPr>
          <p:spPr>
            <a:xfrm>
              <a:off x="4582618" y="5122122"/>
              <a:ext cx="812867" cy="812867"/>
            </a:xfrm>
            <a:prstGeom prst="ellipse">
              <a:avLst/>
            </a:prstGeom>
            <a:solidFill>
              <a:schemeClr val="accent4">
                <a:lumMod val="40000"/>
                <a:lumOff val="60000"/>
                <a:alpha val="46000"/>
              </a:schemeClr>
            </a:solidFill>
            <a:ln w="3175">
              <a:solidFill>
                <a:schemeClr val="accent4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</p:grp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91E8D4B2-C355-4DC1-80E6-9DCD0C420D6D}"/>
              </a:ext>
            </a:extLst>
          </p:cNvPr>
          <p:cNvCxnSpPr>
            <a:cxnSpLocks/>
          </p:cNvCxnSpPr>
          <p:nvPr/>
        </p:nvCxnSpPr>
        <p:spPr>
          <a:xfrm>
            <a:off x="7620623" y="3149457"/>
            <a:ext cx="4548979" cy="0"/>
          </a:xfrm>
          <a:prstGeom prst="line">
            <a:avLst/>
          </a:prstGeom>
          <a:ln>
            <a:solidFill>
              <a:schemeClr val="tx2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Oval 82">
            <a:hlinkClick r:id="" action="ppaction://noaction"/>
            <a:extLst>
              <a:ext uri="{FF2B5EF4-FFF2-40B4-BE49-F238E27FC236}">
                <a16:creationId xmlns:a16="http://schemas.microsoft.com/office/drawing/2014/main" id="{68D66655-B378-4B41-9B06-78858121895C}"/>
              </a:ext>
            </a:extLst>
          </p:cNvPr>
          <p:cNvSpPr/>
          <p:nvPr/>
        </p:nvSpPr>
        <p:spPr>
          <a:xfrm>
            <a:off x="4291742" y="4728126"/>
            <a:ext cx="81906" cy="81906"/>
          </a:xfrm>
          <a:prstGeom prst="ellipse">
            <a:avLst/>
          </a:prstGeom>
          <a:solidFill>
            <a:srgbClr val="FF0000"/>
          </a:solidFill>
          <a:ln w="63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44" name="Callout: Right Arrow 143">
            <a:extLst>
              <a:ext uri="{FF2B5EF4-FFF2-40B4-BE49-F238E27FC236}">
                <a16:creationId xmlns:a16="http://schemas.microsoft.com/office/drawing/2014/main" id="{596264C0-1642-4BE1-BE2D-2C8DF33B10EB}"/>
              </a:ext>
            </a:extLst>
          </p:cNvPr>
          <p:cNvSpPr/>
          <p:nvPr/>
        </p:nvSpPr>
        <p:spPr>
          <a:xfrm>
            <a:off x="2430567" y="3528563"/>
            <a:ext cx="298847" cy="260401"/>
          </a:xfrm>
          <a:prstGeom prst="rightArrowCallout">
            <a:avLst/>
          </a:prstGeom>
          <a:solidFill>
            <a:srgbClr val="BED5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45" name="Callout: Right Arrow 144">
            <a:extLst>
              <a:ext uri="{FF2B5EF4-FFF2-40B4-BE49-F238E27FC236}">
                <a16:creationId xmlns:a16="http://schemas.microsoft.com/office/drawing/2014/main" id="{18F1FFB8-5699-4EF3-8238-72C19AE3DBCA}"/>
              </a:ext>
            </a:extLst>
          </p:cNvPr>
          <p:cNvSpPr/>
          <p:nvPr/>
        </p:nvSpPr>
        <p:spPr>
          <a:xfrm>
            <a:off x="2717197" y="3751437"/>
            <a:ext cx="298847" cy="260401"/>
          </a:xfrm>
          <a:prstGeom prst="rightArrowCallout">
            <a:avLst/>
          </a:prstGeom>
          <a:solidFill>
            <a:srgbClr val="BED5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46" name="Callout: Right Arrow 145">
            <a:extLst>
              <a:ext uri="{FF2B5EF4-FFF2-40B4-BE49-F238E27FC236}">
                <a16:creationId xmlns:a16="http://schemas.microsoft.com/office/drawing/2014/main" id="{4247D4FE-BD9D-4708-8A52-2129E86CC1E0}"/>
              </a:ext>
            </a:extLst>
          </p:cNvPr>
          <p:cNvSpPr/>
          <p:nvPr/>
        </p:nvSpPr>
        <p:spPr>
          <a:xfrm>
            <a:off x="6769532" y="5412336"/>
            <a:ext cx="298847" cy="140155"/>
          </a:xfrm>
          <a:prstGeom prst="rightArrowCallout">
            <a:avLst>
              <a:gd name="adj1" fmla="val 50000"/>
              <a:gd name="adj2" fmla="val 25000"/>
              <a:gd name="adj3" fmla="val 25000"/>
              <a:gd name="adj4" fmla="val 64977"/>
            </a:avLst>
          </a:prstGeom>
          <a:solidFill>
            <a:srgbClr val="BED5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48" name="Callout: Right Arrow 147">
            <a:extLst>
              <a:ext uri="{FF2B5EF4-FFF2-40B4-BE49-F238E27FC236}">
                <a16:creationId xmlns:a16="http://schemas.microsoft.com/office/drawing/2014/main" id="{ABA63F62-D927-40AB-9257-3FFA838D0951}"/>
              </a:ext>
            </a:extLst>
          </p:cNvPr>
          <p:cNvSpPr/>
          <p:nvPr/>
        </p:nvSpPr>
        <p:spPr>
          <a:xfrm>
            <a:off x="4670163" y="4951680"/>
            <a:ext cx="298847" cy="260401"/>
          </a:xfrm>
          <a:prstGeom prst="rightArrowCallout">
            <a:avLst/>
          </a:prstGeom>
          <a:solidFill>
            <a:srgbClr val="BED5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49" name="Callout: Right Arrow 148">
            <a:extLst>
              <a:ext uri="{FF2B5EF4-FFF2-40B4-BE49-F238E27FC236}">
                <a16:creationId xmlns:a16="http://schemas.microsoft.com/office/drawing/2014/main" id="{4F4F73DA-9D9E-4F28-88D9-6439E366E0DA}"/>
              </a:ext>
            </a:extLst>
          </p:cNvPr>
          <p:cNvSpPr/>
          <p:nvPr/>
        </p:nvSpPr>
        <p:spPr>
          <a:xfrm>
            <a:off x="4481934" y="4808386"/>
            <a:ext cx="298847" cy="260401"/>
          </a:xfrm>
          <a:prstGeom prst="rightArrowCallout">
            <a:avLst/>
          </a:prstGeom>
          <a:solidFill>
            <a:srgbClr val="BED5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50" name="Callout: Right Arrow 149">
            <a:extLst>
              <a:ext uri="{FF2B5EF4-FFF2-40B4-BE49-F238E27FC236}">
                <a16:creationId xmlns:a16="http://schemas.microsoft.com/office/drawing/2014/main" id="{E5F10F43-DE16-44A6-AE67-2A012056FD55}"/>
              </a:ext>
            </a:extLst>
          </p:cNvPr>
          <p:cNvSpPr/>
          <p:nvPr/>
        </p:nvSpPr>
        <p:spPr>
          <a:xfrm>
            <a:off x="7024124" y="5446880"/>
            <a:ext cx="298847" cy="260401"/>
          </a:xfrm>
          <a:prstGeom prst="rightArrowCallout">
            <a:avLst/>
          </a:prstGeom>
          <a:solidFill>
            <a:srgbClr val="BED5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81" name="Isosceles Triangle 80">
            <a:extLst>
              <a:ext uri="{FF2B5EF4-FFF2-40B4-BE49-F238E27FC236}">
                <a16:creationId xmlns:a16="http://schemas.microsoft.com/office/drawing/2014/main" id="{93A22301-950F-416A-8FB2-F6D4C5DB3AA9}"/>
              </a:ext>
            </a:extLst>
          </p:cNvPr>
          <p:cNvSpPr/>
          <p:nvPr/>
        </p:nvSpPr>
        <p:spPr>
          <a:xfrm>
            <a:off x="4413814" y="6458459"/>
            <a:ext cx="168804" cy="181670"/>
          </a:xfrm>
          <a:prstGeom prst="triangle">
            <a:avLst/>
          </a:prstGeom>
          <a:solidFill>
            <a:srgbClr val="66C5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82" name="Speech Bubble: Oval 81">
            <a:extLst>
              <a:ext uri="{FF2B5EF4-FFF2-40B4-BE49-F238E27FC236}">
                <a16:creationId xmlns:a16="http://schemas.microsoft.com/office/drawing/2014/main" id="{03674ECC-1D42-45B1-B37F-77204C7241EF}"/>
              </a:ext>
            </a:extLst>
          </p:cNvPr>
          <p:cNvSpPr/>
          <p:nvPr/>
        </p:nvSpPr>
        <p:spPr>
          <a:xfrm>
            <a:off x="261215" y="1649559"/>
            <a:ext cx="1336747" cy="874997"/>
          </a:xfrm>
          <a:prstGeom prst="wedgeEllipseCallout">
            <a:avLst>
              <a:gd name="adj1" fmla="val 81122"/>
              <a:gd name="adj2" fmla="val 113164"/>
            </a:avLst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FLC: 2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605801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4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8m174.0DA_EnhmITSRb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.2"/>
  <p:tag name="2LEVEL" val="0.6"/>
  <p:tag name="3LEVEL" val="0.3"/>
  <p:tag name="4LEVEL" val="0.15"/>
  <p:tag name="5LEVEL" val="0.08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.2"/>
  <p:tag name="2LEVEL" val="0.6"/>
  <p:tag name="3LEVEL" val="0.3"/>
  <p:tag name="4LEVEL" val="0.15"/>
  <p:tag name="5LEVEL" val="0.08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.2"/>
  <p:tag name="2LEVEL" val="0.6"/>
  <p:tag name="3LEVEL" val="0.3"/>
  <p:tag name="4LEVEL" val="0.15"/>
  <p:tag name="5LEVEL" val="0.08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8m174.0DA_EnhmITSRb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.2"/>
  <p:tag name="2LEVEL" val="0.6"/>
  <p:tag name="3LEVEL" val="0.3"/>
  <p:tag name="4LEVEL" val="0.15"/>
  <p:tag name="5LEVEL" val="0.08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.2"/>
  <p:tag name="2LEVEL" val="0.6"/>
  <p:tag name="3LEVEL" val="0.3"/>
  <p:tag name="4LEVEL" val="0.15"/>
  <p:tag name="5LEVEL" val="0.08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.2"/>
  <p:tag name="2LEVEL" val="0.6"/>
  <p:tag name="3LEVEL" val="0.3"/>
  <p:tag name="4LEVEL" val="0.15"/>
  <p:tag name="5LEVEL" val="0.08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N5dB4uCmFSU1Ryo6xJ3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heme/theme1.xml><?xml version="1.0" encoding="utf-8"?>
<a:theme xmlns:a="http://schemas.openxmlformats.org/drawingml/2006/main" name="Shell_CF_RDS598">
  <a:themeElements>
    <a:clrScheme name="Current">
      <a:dk1>
        <a:srgbClr val="595959"/>
      </a:dk1>
      <a:lt1>
        <a:srgbClr val="FFFFFF"/>
      </a:lt1>
      <a:dk2>
        <a:srgbClr val="DD1D21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808080"/>
      </a:accent6>
      <a:hlink>
        <a:srgbClr val="003C88"/>
      </a:hlink>
      <a:folHlink>
        <a:srgbClr val="641964"/>
      </a:folHlink>
    </a:clrScheme>
    <a:fontScheme name="Custom 40">
      <a:majorFont>
        <a:latin typeface="Futura Bold"/>
        <a:ea typeface="ＭＳ Ｐゴシック"/>
        <a:cs typeface=""/>
      </a:majorFont>
      <a:minorFont>
        <a:latin typeface="Futura Medium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595959"/>
        </a:dk1>
        <a:lt1>
          <a:srgbClr val="FFFFFF"/>
        </a:lt1>
        <a:dk2>
          <a:srgbClr val="DD1D21"/>
        </a:dk2>
        <a:lt2>
          <a:srgbClr val="D9D9D9"/>
        </a:lt2>
        <a:accent1>
          <a:srgbClr val="FBCE07"/>
        </a:accent1>
        <a:accent2>
          <a:srgbClr val="DD1D21"/>
        </a:accent2>
        <a:accent3>
          <a:srgbClr val="003C88"/>
        </a:accent3>
        <a:accent4>
          <a:srgbClr val="641964"/>
        </a:accent4>
        <a:accent5>
          <a:srgbClr val="008443"/>
        </a:accent5>
        <a:accent6>
          <a:srgbClr val="808080"/>
        </a:accent6>
        <a:hlink>
          <a:srgbClr val="003C88"/>
        </a:hlink>
        <a:folHlink>
          <a:srgbClr val="64196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hell_CF_RDS598.potx" id="{BBEC8305-3715-4CE6-8699-B28A10179CF1}" vid="{7341CF39-6A8E-487C-9B02-3592AEE52BE5}"/>
    </a:ext>
  </a:extLst>
</a:theme>
</file>

<file path=ppt/theme/theme2.xml><?xml version="1.0" encoding="utf-8"?>
<a:theme xmlns:a="http://schemas.openxmlformats.org/drawingml/2006/main" name="1_Shell_CF_RDS598">
  <a:themeElements>
    <a:clrScheme name="Current">
      <a:dk1>
        <a:srgbClr val="595959"/>
      </a:dk1>
      <a:lt1>
        <a:srgbClr val="FFFFFF"/>
      </a:lt1>
      <a:dk2>
        <a:srgbClr val="DD1D21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808080"/>
      </a:accent6>
      <a:hlink>
        <a:srgbClr val="003C88"/>
      </a:hlink>
      <a:folHlink>
        <a:srgbClr val="641964"/>
      </a:folHlink>
    </a:clrScheme>
    <a:fontScheme name="Custom 40">
      <a:majorFont>
        <a:latin typeface="Futura Bold"/>
        <a:ea typeface="ＭＳ Ｐゴシック"/>
        <a:cs typeface=""/>
      </a:majorFont>
      <a:minorFont>
        <a:latin typeface="Futura Medium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595959"/>
        </a:dk1>
        <a:lt1>
          <a:srgbClr val="FFFFFF"/>
        </a:lt1>
        <a:dk2>
          <a:srgbClr val="DD1D21"/>
        </a:dk2>
        <a:lt2>
          <a:srgbClr val="D9D9D9"/>
        </a:lt2>
        <a:accent1>
          <a:srgbClr val="FBCE07"/>
        </a:accent1>
        <a:accent2>
          <a:srgbClr val="DD1D21"/>
        </a:accent2>
        <a:accent3>
          <a:srgbClr val="003C88"/>
        </a:accent3>
        <a:accent4>
          <a:srgbClr val="641964"/>
        </a:accent4>
        <a:accent5>
          <a:srgbClr val="008443"/>
        </a:accent5>
        <a:accent6>
          <a:srgbClr val="808080"/>
        </a:accent6>
        <a:hlink>
          <a:srgbClr val="003C88"/>
        </a:hlink>
        <a:folHlink>
          <a:srgbClr val="64196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hell_CF_RDS598.potx" id="{BBEC8305-3715-4CE6-8699-B28A10179CF1}" vid="{7341CF39-6A8E-487C-9B02-3592AEE52BE5}"/>
    </a:ext>
  </a:extLst>
</a:theme>
</file>

<file path=ppt/theme/theme3.xml><?xml version="1.0" encoding="utf-8"?>
<a:theme xmlns:a="http://schemas.openxmlformats.org/drawingml/2006/main" name="Shell layouts with footer">
  <a:themeElements>
    <a:clrScheme name="Shell - Colours">
      <a:dk1>
        <a:srgbClr val="595959"/>
      </a:dk1>
      <a:lt1>
        <a:srgbClr val="FFFFFF"/>
      </a:lt1>
      <a:dk2>
        <a:srgbClr val="999999"/>
      </a:dk2>
      <a:lt2>
        <a:srgbClr val="CCCCCC"/>
      </a:lt2>
      <a:accent1>
        <a:srgbClr val="F7D117"/>
      </a:accent1>
      <a:accent2>
        <a:srgbClr val="D42E12"/>
      </a:accent2>
      <a:accent3>
        <a:srgbClr val="003882"/>
      </a:accent3>
      <a:accent4>
        <a:srgbClr val="611759"/>
      </a:accent4>
      <a:accent5>
        <a:srgbClr val="00824A"/>
      </a:accent5>
      <a:accent6>
        <a:srgbClr val="DE8703"/>
      </a:accent6>
      <a:hlink>
        <a:srgbClr val="000000"/>
      </a:hlink>
      <a:folHlink>
        <a:srgbClr val="000000"/>
      </a:folHlink>
    </a:clrScheme>
    <a:fontScheme name="Shell - Fonts">
      <a:majorFont>
        <a:latin typeface="Futura Medium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77800" indent="-177800">
          <a:lnSpc>
            <a:spcPct val="113000"/>
          </a:lnSpc>
          <a:spcAft>
            <a:spcPts val="60"/>
          </a:spcAft>
          <a:buFont typeface="Wingdings"/>
          <a:buChar char="n"/>
          <a:defRPr sz="1600" dirty="0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1_Shell layouts with footer">
  <a:themeElements>
    <a:clrScheme name="Shell Colour Palette">
      <a:dk1>
        <a:srgbClr val="404040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Theme Fonts">
      <a:majorFont>
        <a:latin typeface="Futura Bold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201613" indent="-201613" defTabSz="357708">
          <a:lnSpc>
            <a:spcPct val="140000"/>
          </a:lnSpc>
          <a:buClr>
            <a:schemeClr val="accent2"/>
          </a:buClr>
          <a:buSzPct val="85000"/>
          <a:buFont typeface="Wingdings" panose="05000000000000000000" pitchFamily="2" charset="2"/>
          <a:buChar char=""/>
          <a:defRPr sz="1600" dirty="0" err="1" smtClean="0"/>
        </a:defPPr>
      </a:lstStyle>
    </a:txDef>
  </a:objectDefaults>
  <a:extraClrSchemeLst/>
  <a:custClrLst>
    <a:custClr name="Shell-yellow">
      <a:srgbClr val="FBCE07"/>
    </a:custClr>
    <a:custClr name="Shell-yellow-60%">
      <a:srgbClr val="FDE26A"/>
    </a:custClr>
    <a:custClr name="Shell-yellow-40%">
      <a:srgbClr val="FDEB9C"/>
    </a:custClr>
    <a:custClr name="Shell-yellow-20%">
      <a:srgbClr val="FEF5CD"/>
    </a:custClr>
    <a:custClr name="Shell-yellow-20%">
      <a:srgbClr val="FEF5CD"/>
    </a:custClr>
    <a:custClr name="Shell-red">
      <a:srgbClr val="DD1D21"/>
    </a:custClr>
    <a:custClr name="Shell-red-60%">
      <a:srgbClr val="EB777A"/>
    </a:custClr>
    <a:custClr name="Shell-red-40%">
      <a:srgbClr val="F1A5A6"/>
    </a:custClr>
    <a:custClr name="Shell-red-20%">
      <a:srgbClr val="F8D2D3"/>
    </a:custClr>
    <a:custClr name="Shell-white">
      <a:srgbClr val="FFFFFF"/>
    </a:custClr>
    <a:custClr name="Shell-black">
      <a:srgbClr val="000000"/>
    </a:custClr>
    <a:custClr name="Shell-very dark grey">
      <a:srgbClr val="404040"/>
    </a:custClr>
    <a:custClr name="Shell-dark grey">
      <a:srgbClr val="595959"/>
    </a:custClr>
    <a:custClr name="Shell-mid grey">
      <a:srgbClr val="7F7F7F"/>
    </a:custClr>
    <a:custClr name="Shell-light grey">
      <a:srgbClr val="A6A6A6"/>
    </a:custClr>
    <a:custClr name="Shell-pale grey">
      <a:srgbClr val="D9D9D9"/>
    </a:custClr>
    <a:custClr name="Shell-very pale grey">
      <a:srgbClr val="F7F7F7"/>
    </a:custClr>
    <a:custClr name="Shell-dark blue">
      <a:srgbClr val="003C88"/>
    </a:custClr>
    <a:custClr name="Shell-dark blue-60%">
      <a:srgbClr val="668AB8"/>
    </a:custClr>
    <a:custClr name="Shell-dark blue-40%">
      <a:srgbClr val="99B1CF"/>
    </a:custClr>
    <a:custClr name="Shell-dark blue-20%">
      <a:srgbClr val="CCD8E7"/>
    </a:custClr>
    <a:custClr name="Shell-mid blue">
      <a:srgbClr val="009EB4"/>
    </a:custClr>
    <a:custClr name="Shell-mid blue-60%">
      <a:srgbClr val="66C5D2"/>
    </a:custClr>
    <a:custClr name="Shell-mid blue-40%">
      <a:srgbClr val="99D8E1"/>
    </a:custClr>
    <a:custClr name="Shell-mid blue-20%">
      <a:srgbClr val="CCECF0"/>
    </a:custClr>
    <a:custClr name="Shell-light blue">
      <a:srgbClr val="89CFDC"/>
    </a:custClr>
    <a:custClr name="Shell-light blue-60%">
      <a:srgbClr val="B8E2EA"/>
    </a:custClr>
    <a:custClr name="Shell-light blue-40%">
      <a:srgbClr val="D0ECF1"/>
    </a:custClr>
    <a:custClr name="Shell-light blue-20%">
      <a:srgbClr val="E7F5F8"/>
    </a:custClr>
    <a:custClr name="Shell-light green">
      <a:srgbClr val="BED50F"/>
    </a:custClr>
    <a:custClr name="Shell-light green-60%">
      <a:srgbClr val="D8E66F"/>
    </a:custClr>
    <a:custClr name="Shell-light green-40%">
      <a:srgbClr val="E5EE9F"/>
    </a:custClr>
    <a:custClr name="Shell-light green-20%">
      <a:srgbClr val="F2F7CF"/>
    </a:custClr>
    <a:custClr name="Shell-dark green">
      <a:srgbClr val="008443"/>
    </a:custClr>
    <a:custClr name="Shell-dark green-60%">
      <a:srgbClr val="66B58E"/>
    </a:custClr>
    <a:custClr name="Shell-dark green-40%">
      <a:srgbClr val="99CEB4"/>
    </a:custClr>
    <a:custClr name="Shell-dark green-20%">
      <a:srgbClr val="CCE6D9"/>
    </a:custClr>
    <a:custClr name="Shell-purple">
      <a:srgbClr val="641964"/>
    </a:custClr>
    <a:custClr name="Shell-purple-60%">
      <a:srgbClr val="A275A2"/>
    </a:custClr>
    <a:custClr name="Shell-purple-40%">
      <a:srgbClr val="C1A3C1"/>
    </a:custClr>
    <a:custClr name="Shell-purple-20%">
      <a:srgbClr val="E0D1E0"/>
    </a:custClr>
    <a:custClr name="Shell-lilac">
      <a:srgbClr val="BA95BE"/>
    </a:custClr>
    <a:custClr name="Shell-lilac-60%">
      <a:srgbClr val="D6BFD8"/>
    </a:custClr>
    <a:custClr name="Shell-lilac-40%">
      <a:srgbClr val="E3D5E5"/>
    </a:custClr>
    <a:custClr name="Shell-orange">
      <a:srgbClr val="EB8705"/>
    </a:custClr>
    <a:custClr name="Shell-orange-60%">
      <a:srgbClr val="F3B769"/>
    </a:custClr>
    <a:custClr name="Shell-orange-40%">
      <a:srgbClr val="F7CF9B"/>
    </a:custClr>
    <a:custClr name="Shell-brown">
      <a:srgbClr val="743410"/>
    </a:custClr>
    <a:custClr name="Shell-brown-60%">
      <a:srgbClr val="AC8570"/>
    </a:custClr>
    <a:custClr name="Shell-brown-40%">
      <a:srgbClr val="C7AE9F"/>
    </a:custClr>
    <a:custClr name="Shell-sand">
      <a:srgbClr val="FFEAC2"/>
    </a:custClr>
  </a:custClrLst>
  <a:extLst>
    <a:ext uri="{05A4C25C-085E-4340-85A3-A5531E510DB2}">
      <thm15:themeFamily xmlns:thm15="http://schemas.microsoft.com/office/thememl/2012/main" name="Presentation5" id="{07F3A68D-9CEF-4247-9157-4746BA7392D0}" vid="{0E79B587-E74C-440E-AA1A-7110EB07AEFE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163</TotalTime>
  <Words>903</Words>
  <Application>Microsoft Office PowerPoint</Application>
  <PresentationFormat>Widescreen</PresentationFormat>
  <Paragraphs>207</Paragraphs>
  <Slides>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8" baseType="lpstr">
      <vt:lpstr>Arial</vt:lpstr>
      <vt:lpstr>Calibri</vt:lpstr>
      <vt:lpstr>Futura Bold</vt:lpstr>
      <vt:lpstr>Futura Light</vt:lpstr>
      <vt:lpstr>Futura Medium</vt:lpstr>
      <vt:lpstr>ShellMedium</vt:lpstr>
      <vt:lpstr>Wingdings</vt:lpstr>
      <vt:lpstr>Shell_CF_RDS598</vt:lpstr>
      <vt:lpstr>1_Shell_CF_RDS598</vt:lpstr>
      <vt:lpstr>Shell layouts with footer</vt:lpstr>
      <vt:lpstr>1_Shell layouts with footer</vt:lpstr>
      <vt:lpstr>think-cell Slide</vt:lpstr>
      <vt:lpstr>Initiative Update</vt:lpstr>
      <vt:lpstr>Implementation Plan</vt:lpstr>
      <vt:lpstr>Initiative Update</vt:lpstr>
      <vt:lpstr>OVERVIEW OF DECEMBER 1 PLAN AND CRITICAL RESOURCES</vt:lpstr>
      <vt:lpstr>1ST DECEMBER 2020 BACKLOG LIQUIDATION PLAN</vt:lpstr>
      <vt:lpstr>OSRR DECEMBER 2020 PLA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ptimise Aircraft fleet from 5 to 4 to meet SCiN demand by October, 2020</dc:title>
  <dc:creator>Onyeka, Ikechukwu JN SPDC-UPC/G/USL</dc:creator>
  <cp:lastModifiedBy>Faniyi, Fasakin S SPDC-UPC/G/TC</cp:lastModifiedBy>
  <cp:revision>135</cp:revision>
  <dcterms:created xsi:type="dcterms:W3CDTF">2020-06-11T10:49:28Z</dcterms:created>
  <dcterms:modified xsi:type="dcterms:W3CDTF">2020-11-18T10:35:44Z</dcterms:modified>
</cp:coreProperties>
</file>